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8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9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0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1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12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3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4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5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6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7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8.xml" ContentType="application/vnd.openxmlformats-officedocument.them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9.xml" ContentType="application/vnd.openxmlformats-officedocument.them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20.xml" ContentType="application/vnd.openxmlformats-officedocument.them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21.xml" ContentType="application/vnd.openxmlformats-officedocument.them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22.xml" ContentType="application/vnd.openxmlformats-officedocument.them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23.xml" ContentType="application/vnd.openxmlformats-officedocument.them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heme/theme24.xml" ContentType="application/vnd.openxmlformats-officedocument.theme+xml"/>
  <Override PartName="/ppt/theme/theme2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757" r:id="rId2"/>
    <p:sldMasterId id="2147483764" r:id="rId3"/>
    <p:sldMasterId id="2147483780" r:id="rId4"/>
    <p:sldMasterId id="2147483792" r:id="rId5"/>
    <p:sldMasterId id="2147483795" r:id="rId6"/>
    <p:sldMasterId id="2147483801" r:id="rId7"/>
    <p:sldMasterId id="2147483807" r:id="rId8"/>
    <p:sldMasterId id="2147483813" r:id="rId9"/>
    <p:sldMasterId id="2147483819" r:id="rId10"/>
    <p:sldMasterId id="2147483825" r:id="rId11"/>
    <p:sldMasterId id="2147483831" r:id="rId12"/>
    <p:sldMasterId id="2147483835" r:id="rId13"/>
    <p:sldMasterId id="2147483844" r:id="rId14"/>
    <p:sldMasterId id="2147483849" r:id="rId15"/>
    <p:sldMasterId id="2147483854" r:id="rId16"/>
    <p:sldMasterId id="2147483867" r:id="rId17"/>
    <p:sldMasterId id="2147483881" r:id="rId18"/>
    <p:sldMasterId id="2147483885" r:id="rId19"/>
    <p:sldMasterId id="2147483889" r:id="rId20"/>
    <p:sldMasterId id="2147483893" r:id="rId21"/>
    <p:sldMasterId id="2147483897" r:id="rId22"/>
    <p:sldMasterId id="2147483902" r:id="rId23"/>
  </p:sldMasterIdLst>
  <p:notesMasterIdLst>
    <p:notesMasterId r:id="rId64"/>
  </p:notesMasterIdLst>
  <p:handoutMasterIdLst>
    <p:handoutMasterId r:id="rId65"/>
  </p:handoutMasterIdLst>
  <p:sldIdLst>
    <p:sldId id="492" r:id="rId24"/>
    <p:sldId id="543" r:id="rId25"/>
    <p:sldId id="556" r:id="rId26"/>
    <p:sldId id="565" r:id="rId27"/>
    <p:sldId id="566" r:id="rId28"/>
    <p:sldId id="561" r:id="rId29"/>
    <p:sldId id="558" r:id="rId30"/>
    <p:sldId id="548" r:id="rId31"/>
    <p:sldId id="555" r:id="rId32"/>
    <p:sldId id="549" r:id="rId33"/>
    <p:sldId id="550" r:id="rId34"/>
    <p:sldId id="552" r:id="rId35"/>
    <p:sldId id="564" r:id="rId36"/>
    <p:sldId id="559" r:id="rId37"/>
    <p:sldId id="562" r:id="rId38"/>
    <p:sldId id="568" r:id="rId39"/>
    <p:sldId id="580" r:id="rId40"/>
    <p:sldId id="578" r:id="rId41"/>
    <p:sldId id="577" r:id="rId42"/>
    <p:sldId id="570" r:id="rId43"/>
    <p:sldId id="571" r:id="rId44"/>
    <p:sldId id="557" r:id="rId45"/>
    <p:sldId id="574" r:id="rId46"/>
    <p:sldId id="576" r:id="rId47"/>
    <p:sldId id="579" r:id="rId48"/>
    <p:sldId id="554" r:id="rId49"/>
    <p:sldId id="573" r:id="rId50"/>
    <p:sldId id="569" r:id="rId51"/>
    <p:sldId id="575" r:id="rId52"/>
    <p:sldId id="567" r:id="rId53"/>
    <p:sldId id="581" r:id="rId54"/>
    <p:sldId id="582" r:id="rId55"/>
    <p:sldId id="583" r:id="rId56"/>
    <p:sldId id="584" r:id="rId57"/>
    <p:sldId id="585" r:id="rId58"/>
    <p:sldId id="586" r:id="rId59"/>
    <p:sldId id="587" r:id="rId60"/>
    <p:sldId id="588" r:id="rId61"/>
    <p:sldId id="589" r:id="rId62"/>
    <p:sldId id="590" r:id="rId63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582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165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6748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331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79151" algn="l" defTabSz="911651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34982" algn="l" defTabSz="911651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190813" algn="l" defTabSz="911651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46644" algn="l" defTabSz="911651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F4F9"/>
    <a:srgbClr val="003274"/>
    <a:srgbClr val="DAEAF6"/>
    <a:srgbClr val="B4DF85"/>
    <a:srgbClr val="7CBF33"/>
    <a:srgbClr val="CCCC00"/>
    <a:srgbClr val="A470BC"/>
    <a:srgbClr val="DFD5D3"/>
    <a:srgbClr val="DC7106"/>
    <a:srgbClr val="2972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7626" autoAdjust="0"/>
    <p:restoredTop sz="96433" autoAdjust="0"/>
  </p:normalViewPr>
  <p:slideViewPr>
    <p:cSldViewPr>
      <p:cViewPr varScale="1">
        <p:scale>
          <a:sx n="117" d="100"/>
          <a:sy n="117" d="100"/>
        </p:scale>
        <p:origin x="-1464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slide" Target="slides/slide24.xml"/><Relationship Id="rId50" Type="http://schemas.openxmlformats.org/officeDocument/2006/relationships/slide" Target="slides/slide27.xml"/><Relationship Id="rId55" Type="http://schemas.openxmlformats.org/officeDocument/2006/relationships/slide" Target="slides/slide32.xml"/><Relationship Id="rId63" Type="http://schemas.openxmlformats.org/officeDocument/2006/relationships/slide" Target="slides/slide40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3" Type="http://schemas.openxmlformats.org/officeDocument/2006/relationships/slide" Target="slides/slide30.xml"/><Relationship Id="rId58" Type="http://schemas.openxmlformats.org/officeDocument/2006/relationships/slide" Target="slides/slide35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slide" Target="slides/slide26.xml"/><Relationship Id="rId57" Type="http://schemas.openxmlformats.org/officeDocument/2006/relationships/slide" Target="slides/slide34.xml"/><Relationship Id="rId61" Type="http://schemas.openxmlformats.org/officeDocument/2006/relationships/slide" Target="slides/slide38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slide" Target="slides/slide29.xml"/><Relationship Id="rId60" Type="http://schemas.openxmlformats.org/officeDocument/2006/relationships/slide" Target="slides/slide37.xml"/><Relationship Id="rId65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slide" Target="slides/slide25.xml"/><Relationship Id="rId56" Type="http://schemas.openxmlformats.org/officeDocument/2006/relationships/slide" Target="slides/slide33.xml"/><Relationship Id="rId64" Type="http://schemas.openxmlformats.org/officeDocument/2006/relationships/notesMaster" Target="notesMasters/notesMaster1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slide" Target="slides/slide23.xml"/><Relationship Id="rId59" Type="http://schemas.openxmlformats.org/officeDocument/2006/relationships/slide" Target="slides/slide36.xml"/><Relationship Id="rId67" Type="http://schemas.openxmlformats.org/officeDocument/2006/relationships/viewProps" Target="viewProps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8.xml"/><Relationship Id="rId54" Type="http://schemas.openxmlformats.org/officeDocument/2006/relationships/slide" Target="slides/slide31.xml"/><Relationship Id="rId62" Type="http://schemas.openxmlformats.org/officeDocument/2006/relationships/slide" Target="slides/slide3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967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6967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r">
              <a:defRPr sz="1200"/>
            </a:lvl1pPr>
          </a:lstStyle>
          <a:p>
            <a:fld id="{895E9F7C-97F7-4F8C-975E-C4A2319756A9}" type="datetimeFigureOut">
              <a:rPr lang="ru-RU" smtClean="0"/>
              <a:pPr/>
              <a:t>21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1260"/>
            <a:ext cx="2946400" cy="496967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431260"/>
            <a:ext cx="2946400" cy="496967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r">
              <a:defRPr sz="1200"/>
            </a:lvl1pPr>
          </a:lstStyle>
          <a:p>
            <a:fld id="{CBD4888E-A617-444D-8FB7-780131AB9BB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9264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2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6" tIns="45714" rIns="91426" bIns="45714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6" y="2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6" tIns="45714" rIns="91426" bIns="45714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9"/>
            <a:ext cx="5438140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6" tIns="45714" rIns="91426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430092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6" tIns="45714" rIns="91426" bIns="45714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6" y="9430092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6" tIns="45714" rIns="91426" bIns="4571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B32F07F-1F4E-4C79-9CD9-4054A165DE5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204330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582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165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748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331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79151" algn="l" defTabSz="9116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4982" algn="l" defTabSz="9116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0813" algn="l" defTabSz="9116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6644" algn="l" defTabSz="9116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838" indent="-285707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829" indent="-2285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9959" indent="-2285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091" indent="-2285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222" indent="-2285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352" indent="-2285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8484" indent="-2285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5615" indent="-2285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C4182C41-F6CB-4803-B032-6CF8C1FD84AA}" type="slidenum">
              <a:rPr lang="ru-RU" altLang="ru-RU"/>
              <a:pPr eaLnBrk="1" hangingPunct="1"/>
              <a:t>1</a:t>
            </a:fld>
            <a:endParaRPr lang="ru-RU" altLang="ru-RU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7813" y="669925"/>
            <a:ext cx="6559550" cy="4921250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1091" y="5784572"/>
            <a:ext cx="5874010" cy="363000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395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2F131D-F4C9-4638-BB2D-61CF396C89FC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39407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6B9912-64C3-45D3-97B3-6B8B81574677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05111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ходная групп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7393AC-C7DD-4155-ABF1-6785A27FD5E8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1092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13" Type="http://schemas.openxmlformats.org/officeDocument/2006/relationships/oleObject" Target="../embeddings/oleObject30.bin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slideMaster" Target="../slideMasters/slideMaster18.xml"/><Relationship Id="rId2" Type="http://schemas.openxmlformats.org/officeDocument/2006/relationships/tags" Target="../tags/tag144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30.vml"/><Relationship Id="rId6" Type="http://schemas.openxmlformats.org/officeDocument/2006/relationships/tags" Target="../tags/tag148.xml"/><Relationship Id="rId11" Type="http://schemas.openxmlformats.org/officeDocument/2006/relationships/tags" Target="../tags/tag153.xml"/><Relationship Id="rId5" Type="http://schemas.openxmlformats.org/officeDocument/2006/relationships/tags" Target="../tags/tag147.xml"/><Relationship Id="rId15" Type="http://schemas.openxmlformats.org/officeDocument/2006/relationships/image" Target="../media/image8.emf"/><Relationship Id="rId10" Type="http://schemas.openxmlformats.org/officeDocument/2006/relationships/tags" Target="../tags/tag152.xml"/><Relationship Id="rId4" Type="http://schemas.openxmlformats.org/officeDocument/2006/relationships/tags" Target="../tags/tag146.xml"/><Relationship Id="rId9" Type="http://schemas.openxmlformats.org/officeDocument/2006/relationships/tags" Target="../tags/tag151.xml"/><Relationship Id="rId14" Type="http://schemas.openxmlformats.org/officeDocument/2006/relationships/image" Target="../media/image15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8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15.emf"/><Relationship Id="rId2" Type="http://schemas.openxmlformats.org/officeDocument/2006/relationships/tags" Target="../tags/tag156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18.xml"/><Relationship Id="rId4" Type="http://schemas.openxmlformats.org/officeDocument/2006/relationships/tags" Target="../tags/tag158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oleObject" Target="../embeddings/oleObject34.bin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slideMaster" Target="../slideMasters/slideMaster19.xml"/><Relationship Id="rId2" Type="http://schemas.openxmlformats.org/officeDocument/2006/relationships/tags" Target="../tags/tag174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34.v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5" Type="http://schemas.openxmlformats.org/officeDocument/2006/relationships/image" Target="../media/image8.emf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Relationship Id="rId14" Type="http://schemas.openxmlformats.org/officeDocument/2006/relationships/image" Target="../media/image15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9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7" Type="http://schemas.openxmlformats.org/officeDocument/2006/relationships/image" Target="../media/image15.emf"/><Relationship Id="rId2" Type="http://schemas.openxmlformats.org/officeDocument/2006/relationships/tags" Target="../tags/tag186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9.xml"/><Relationship Id="rId4" Type="http://schemas.openxmlformats.org/officeDocument/2006/relationships/tags" Target="../tags/tag188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oleObject" Target="../embeddings/oleObject38.bin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slideMaster" Target="../slideMasters/slideMaster20.xml"/><Relationship Id="rId2" Type="http://schemas.openxmlformats.org/officeDocument/2006/relationships/tags" Target="../tags/tag204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38.v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5" Type="http://schemas.openxmlformats.org/officeDocument/2006/relationships/image" Target="../media/image8.emf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image" Target="../media/image15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15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20.xml"/><Relationship Id="rId4" Type="http://schemas.openxmlformats.org/officeDocument/2006/relationships/tags" Target="../tags/tag218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oleObject" Target="../embeddings/oleObject42.bin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12" Type="http://schemas.openxmlformats.org/officeDocument/2006/relationships/slideMaster" Target="../slideMasters/slideMaster21.xml"/><Relationship Id="rId2" Type="http://schemas.openxmlformats.org/officeDocument/2006/relationships/tags" Target="../tags/tag234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42.vml"/><Relationship Id="rId6" Type="http://schemas.openxmlformats.org/officeDocument/2006/relationships/tags" Target="../tags/tag238.xml"/><Relationship Id="rId11" Type="http://schemas.openxmlformats.org/officeDocument/2006/relationships/tags" Target="../tags/tag243.xml"/><Relationship Id="rId5" Type="http://schemas.openxmlformats.org/officeDocument/2006/relationships/tags" Target="../tags/tag237.xml"/><Relationship Id="rId15" Type="http://schemas.openxmlformats.org/officeDocument/2006/relationships/image" Target="../media/image8.emf"/><Relationship Id="rId10" Type="http://schemas.openxmlformats.org/officeDocument/2006/relationships/tags" Target="../tags/tag242.xml"/><Relationship Id="rId4" Type="http://schemas.openxmlformats.org/officeDocument/2006/relationships/tags" Target="../tags/tag236.xml"/><Relationship Id="rId9" Type="http://schemas.openxmlformats.org/officeDocument/2006/relationships/tags" Target="../tags/tag241.xml"/><Relationship Id="rId14" Type="http://schemas.openxmlformats.org/officeDocument/2006/relationships/image" Target="../media/image15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45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7" Type="http://schemas.openxmlformats.org/officeDocument/2006/relationships/image" Target="../media/image15.emf"/><Relationship Id="rId2" Type="http://schemas.openxmlformats.org/officeDocument/2006/relationships/tags" Target="../tags/tag246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21.xml"/><Relationship Id="rId4" Type="http://schemas.openxmlformats.org/officeDocument/2006/relationships/tags" Target="../tags/tag248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13" Type="http://schemas.openxmlformats.org/officeDocument/2006/relationships/oleObject" Target="../embeddings/oleObject46.bin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12" Type="http://schemas.openxmlformats.org/officeDocument/2006/relationships/slideMaster" Target="../slideMasters/slideMaster22.xml"/><Relationship Id="rId2" Type="http://schemas.openxmlformats.org/officeDocument/2006/relationships/tags" Target="../tags/tag264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46.vml"/><Relationship Id="rId6" Type="http://schemas.openxmlformats.org/officeDocument/2006/relationships/tags" Target="../tags/tag268.xml"/><Relationship Id="rId11" Type="http://schemas.openxmlformats.org/officeDocument/2006/relationships/tags" Target="../tags/tag273.xml"/><Relationship Id="rId5" Type="http://schemas.openxmlformats.org/officeDocument/2006/relationships/tags" Target="../tags/tag267.xml"/><Relationship Id="rId15" Type="http://schemas.openxmlformats.org/officeDocument/2006/relationships/image" Target="../media/image8.emf"/><Relationship Id="rId10" Type="http://schemas.openxmlformats.org/officeDocument/2006/relationships/tags" Target="../tags/tag272.xml"/><Relationship Id="rId4" Type="http://schemas.openxmlformats.org/officeDocument/2006/relationships/tags" Target="../tags/tag266.xml"/><Relationship Id="rId9" Type="http://schemas.openxmlformats.org/officeDocument/2006/relationships/tags" Target="../tags/tag271.xml"/><Relationship Id="rId14" Type="http://schemas.openxmlformats.org/officeDocument/2006/relationships/image" Target="../media/image15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tags" Target="../tags/tag297.xml"/><Relationship Id="rId13" Type="http://schemas.openxmlformats.org/officeDocument/2006/relationships/oleObject" Target="../embeddings/oleObject49.bin"/><Relationship Id="rId3" Type="http://schemas.openxmlformats.org/officeDocument/2006/relationships/tags" Target="../tags/tag292.xml"/><Relationship Id="rId7" Type="http://schemas.openxmlformats.org/officeDocument/2006/relationships/tags" Target="../tags/tag296.xml"/><Relationship Id="rId12" Type="http://schemas.openxmlformats.org/officeDocument/2006/relationships/slideMaster" Target="../slideMasters/slideMaster23.xml"/><Relationship Id="rId2" Type="http://schemas.openxmlformats.org/officeDocument/2006/relationships/tags" Target="../tags/tag291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49.vml"/><Relationship Id="rId6" Type="http://schemas.openxmlformats.org/officeDocument/2006/relationships/tags" Target="../tags/tag295.xml"/><Relationship Id="rId11" Type="http://schemas.openxmlformats.org/officeDocument/2006/relationships/tags" Target="../tags/tag300.xml"/><Relationship Id="rId5" Type="http://schemas.openxmlformats.org/officeDocument/2006/relationships/tags" Target="../tags/tag294.xml"/><Relationship Id="rId15" Type="http://schemas.openxmlformats.org/officeDocument/2006/relationships/image" Target="../media/image8.emf"/><Relationship Id="rId10" Type="http://schemas.openxmlformats.org/officeDocument/2006/relationships/tags" Target="../tags/tag299.xml"/><Relationship Id="rId4" Type="http://schemas.openxmlformats.org/officeDocument/2006/relationships/tags" Target="../tags/tag293.xml"/><Relationship Id="rId9" Type="http://schemas.openxmlformats.org/officeDocument/2006/relationships/tags" Target="../tags/tag298.xml"/><Relationship Id="rId14" Type="http://schemas.openxmlformats.org/officeDocument/2006/relationships/image" Target="../media/image15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7" Type="http://schemas.openxmlformats.org/officeDocument/2006/relationships/image" Target="../media/image15.emf"/><Relationship Id="rId2" Type="http://schemas.openxmlformats.org/officeDocument/2006/relationships/tags" Target="../tags/tag303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23.xml"/><Relationship Id="rId4" Type="http://schemas.openxmlformats.org/officeDocument/2006/relationships/tags" Target="../tags/tag30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4.xml"/><Relationship Id="rId7" Type="http://schemas.openxmlformats.org/officeDocument/2006/relationships/image" Target="../media/image1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5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5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image" Target="../media/image8.emf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image" Target="../media/image15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7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1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7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1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7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1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7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1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7.png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0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image" Target="../media/image8.emf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image" Target="../media/image15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oleObject" Target="../embeddings/oleObject23.bin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slideMaster" Target="../slideMasters/slideMaster13.xml"/><Relationship Id="rId2" Type="http://schemas.openxmlformats.org/officeDocument/2006/relationships/tags" Target="../tags/tag87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3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image" Target="../media/image8.emf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image" Target="../media/image1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3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image" Target="../media/image16.emf"/><Relationship Id="rId3" Type="http://schemas.openxmlformats.org/officeDocument/2006/relationships/tags" Target="../tags/tag101.xml"/><Relationship Id="rId21" Type="http://schemas.openxmlformats.org/officeDocument/2006/relationships/image" Target="../media/image18.png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oleObject" Target="../embeddings/oleObject26.bin"/><Relationship Id="rId2" Type="http://schemas.openxmlformats.org/officeDocument/2006/relationships/tags" Target="../tags/tag100.xml"/><Relationship Id="rId16" Type="http://schemas.openxmlformats.org/officeDocument/2006/relationships/slideMaster" Target="../slideMasters/slideMaster14.xml"/><Relationship Id="rId20" Type="http://schemas.openxmlformats.org/officeDocument/2006/relationships/image" Target="../media/image17.png"/><Relationship Id="rId1" Type="http://schemas.openxmlformats.org/officeDocument/2006/relationships/vmlDrawing" Target="../drawings/vmlDrawing26.v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5" Type="http://schemas.openxmlformats.org/officeDocument/2006/relationships/tags" Target="../tags/tag103.xml"/><Relationship Id="rId15" Type="http://schemas.openxmlformats.org/officeDocument/2006/relationships/tags" Target="../tags/tag113.xml"/><Relationship Id="rId10" Type="http://schemas.openxmlformats.org/officeDocument/2006/relationships/tags" Target="../tags/tag108.xml"/><Relationship Id="rId19" Type="http://schemas.openxmlformats.org/officeDocument/2006/relationships/image" Target="../media/image8.emf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image" Target="../media/image11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18" Type="http://schemas.openxmlformats.org/officeDocument/2006/relationships/image" Target="../media/image16.emf"/><Relationship Id="rId3" Type="http://schemas.openxmlformats.org/officeDocument/2006/relationships/tags" Target="../tags/tag116.xml"/><Relationship Id="rId21" Type="http://schemas.openxmlformats.org/officeDocument/2006/relationships/image" Target="../media/image18.png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oleObject" Target="../embeddings/oleObject28.bin"/><Relationship Id="rId2" Type="http://schemas.openxmlformats.org/officeDocument/2006/relationships/tags" Target="../tags/tag115.xml"/><Relationship Id="rId16" Type="http://schemas.openxmlformats.org/officeDocument/2006/relationships/slideMaster" Target="../slideMasters/slideMaster15.xml"/><Relationship Id="rId20" Type="http://schemas.openxmlformats.org/officeDocument/2006/relationships/image" Target="../media/image17.png"/><Relationship Id="rId1" Type="http://schemas.openxmlformats.org/officeDocument/2006/relationships/vmlDrawing" Target="../drawings/vmlDrawing28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5" Type="http://schemas.openxmlformats.org/officeDocument/2006/relationships/tags" Target="../tags/tag128.xml"/><Relationship Id="rId10" Type="http://schemas.openxmlformats.org/officeDocument/2006/relationships/tags" Target="../tags/tag123.xml"/><Relationship Id="rId19" Type="http://schemas.openxmlformats.org/officeDocument/2006/relationships/image" Target="../media/image8.emf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Relationship Id="rId22" Type="http://schemas.openxmlformats.org/officeDocument/2006/relationships/image" Target="../media/image11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1" y="293689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50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7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9133865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31171821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8200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02056603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809482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318629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59330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454356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66629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495690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629509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896564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75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9722525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555865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381691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3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6" y="349866"/>
            <a:ext cx="1032101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6" y="508601"/>
            <a:ext cx="2968722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6" y="668956"/>
            <a:ext cx="2567985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1"/>
              <a:ext cx="3226" cy="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16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2693795" y="3175997"/>
            <a:ext cx="5036084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1" name="navigation8" descr="ujkm,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30448" y="299654"/>
            <a:ext cx="1708932" cy="151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87038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9182" y="301936"/>
            <a:ext cx="8016871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32133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8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3118429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6" y="349866"/>
            <a:ext cx="1032101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6" y="508601"/>
            <a:ext cx="2968722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6" y="668956"/>
            <a:ext cx="2567985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1"/>
              <a:ext cx="3226" cy="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16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2693795" y="3175997"/>
            <a:ext cx="5036084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1" name="navigation8" descr="ujkm,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30448" y="299654"/>
            <a:ext cx="1708932" cy="151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51117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9182" y="301936"/>
            <a:ext cx="8016871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5988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8375166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2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6" y="349866"/>
            <a:ext cx="1032101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6" y="508601"/>
            <a:ext cx="2968722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6" y="668956"/>
            <a:ext cx="2567985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1"/>
              <a:ext cx="3226" cy="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16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2693795" y="3175997"/>
            <a:ext cx="5036084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1" name="navigation8" descr="ujkm,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30448" y="299654"/>
            <a:ext cx="1708932" cy="151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74427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9182" y="301936"/>
            <a:ext cx="8016871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3348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1959892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8241106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2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6" y="349866"/>
            <a:ext cx="1032101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6" y="508601"/>
            <a:ext cx="2968722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6" y="668956"/>
            <a:ext cx="2567985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1"/>
              <a:ext cx="3226" cy="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16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2693795" y="3175997"/>
            <a:ext cx="5036084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1" name="navigation8" descr="ujkm,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30448" y="299654"/>
            <a:ext cx="1708932" cy="151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32592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9182" y="301936"/>
            <a:ext cx="8016871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91630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9459278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5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6" y="349866"/>
            <a:ext cx="1032101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6" y="508601"/>
            <a:ext cx="2968722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6" y="668956"/>
            <a:ext cx="2567985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1"/>
              <a:ext cx="3226" cy="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16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2693795" y="3175997"/>
            <a:ext cx="5036084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1" name="navigation8" descr="ujkm,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30448" y="299654"/>
            <a:ext cx="1708932" cy="151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0629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9182" y="301936"/>
            <a:ext cx="8016871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66596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323851" y="293689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513457"/>
            <a:ext cx="8280400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6" y="3499271"/>
            <a:ext cx="3743325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76718554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7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6" y="349866"/>
            <a:ext cx="1032101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6" y="508601"/>
            <a:ext cx="2968722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6" y="668956"/>
            <a:ext cx="2567985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918" dirty="0" smtClean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rgbClr val="000000"/>
                  </a:solidFill>
                  <a:cs typeface="Arial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1"/>
              <a:ext cx="3226" cy="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hangingPunct="0"/>
              <a:r>
                <a:rPr lang="ru-RU" sz="816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16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32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2693795" y="3175997"/>
            <a:ext cx="5036084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1" name="navigation8" descr="ujkm,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30448" y="299654"/>
            <a:ext cx="1708932" cy="151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1712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9182" y="301936"/>
            <a:ext cx="8016871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43412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620222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4" y="294100"/>
            <a:ext cx="8016871" cy="314028"/>
          </a:xfrm>
        </p:spPr>
        <p:txBody>
          <a:bodyPr/>
          <a:lstStyle>
            <a:lvl1pPr>
              <a:defRPr sz="204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965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8" y="349867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20" y="508602"/>
            <a:ext cx="2946411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4" y="668957"/>
            <a:ext cx="2614361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  <a:cs typeface="+mn-cs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  <a:cs typeface="+mn-cs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40"/>
              <a:ext cx="3226" cy="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8744" eaLnBrk="0" hangingPunct="0"/>
              <a:r>
                <a:rPr lang="ru-RU" sz="800" dirty="0" smtClean="0">
                  <a:solidFill>
                    <a:srgbClr val="000000"/>
                  </a:solidFill>
                  <a:latin typeface="Arial" charset="0"/>
                  <a:cs typeface="+mn-cs"/>
                </a:rPr>
                <a:t>КОНФИДЕНЦИАЛЬНАЯ ИНФОРМАЦИЯ, СОБСТВЕННОСТЬ McKINSEY &amp; COMPANY</a:t>
              </a:r>
            </a:p>
            <a:p>
              <a:pPr defTabSz="818744" eaLnBrk="0" hangingPunct="0"/>
              <a:r>
                <a:rPr lang="ru-RU" sz="800" dirty="0" smtClean="0">
                  <a:solidFill>
                    <a:srgbClr val="000000"/>
                  </a:solidFill>
                  <a:latin typeface="Arial" charset="0"/>
                  <a:cs typeface="+mn-cs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85" y="657457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3173329"/>
            <a:ext cx="5036084" cy="507831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94370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4617894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453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9" y="301936"/>
            <a:ext cx="8016871" cy="29832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27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  <a:cs typeface="+mn-cs"/>
              </a:rPr>
              <a:pPr/>
              <a:t>‹#›</a:t>
            </a:fld>
            <a:endParaRPr lang="en-US" sz="1000" dirty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84505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27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  <a:cs typeface="+mn-cs"/>
              </a:rPr>
              <a:pPr/>
              <a:t>‹#›</a:t>
            </a:fld>
            <a:endParaRPr lang="en-US" sz="1000" dirty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5709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69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504287"/>
            <a:ext cx="8280400" cy="385820"/>
          </a:xfrm>
          <a:ln/>
        </p:spPr>
        <p:txBody>
          <a:bodyPr/>
          <a:lstStyle>
            <a:lvl1pPr>
              <a:lnSpc>
                <a:spcPct val="130000"/>
              </a:lnSpc>
              <a:defRPr sz="19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7" y="3499272"/>
            <a:ext cx="3743325" cy="219820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479435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8688414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</a:p>
          <a:p>
            <a:pPr algn="r" eaLnBrk="1" hangingPunct="1"/>
            <a:endParaRPr lang="en-US" altLang="ru-RU" sz="900" dirty="0">
              <a:solidFill>
                <a:srgbClr val="41414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729" y="331849"/>
            <a:ext cx="6996284" cy="29832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4" y="116633"/>
            <a:ext cx="925217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59179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69" y="293689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9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7" y="3284542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375951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42787190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817231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100"/>
            </a:lvl1pPr>
            <a:lvl2pPr marL="455777" indent="0">
              <a:buNone/>
              <a:defRPr sz="1900"/>
            </a:lvl2pPr>
            <a:lvl3pPr marL="911553" indent="0">
              <a:buNone/>
              <a:defRPr sz="1600"/>
            </a:lvl3pPr>
            <a:lvl4pPr marL="1367337" indent="0">
              <a:buNone/>
              <a:defRPr sz="1400"/>
            </a:lvl4pPr>
            <a:lvl5pPr marL="1823122" indent="0">
              <a:buNone/>
              <a:defRPr sz="1400"/>
            </a:lvl5pPr>
            <a:lvl6pPr marL="2278912" indent="0">
              <a:buNone/>
              <a:defRPr sz="1400"/>
            </a:lvl6pPr>
            <a:lvl7pPr marL="2734693" indent="0">
              <a:buNone/>
              <a:defRPr sz="1400"/>
            </a:lvl7pPr>
            <a:lvl8pPr marL="3190475" indent="0">
              <a:buNone/>
              <a:defRPr sz="1400"/>
            </a:lvl8pPr>
            <a:lvl9pPr marL="3646257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6107011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9" y="1125540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92" y="1125540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02395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77" indent="0">
              <a:buNone/>
              <a:defRPr sz="2100" b="1"/>
            </a:lvl2pPr>
            <a:lvl3pPr marL="911553" indent="0">
              <a:buNone/>
              <a:defRPr sz="1900" b="1"/>
            </a:lvl3pPr>
            <a:lvl4pPr marL="1367337" indent="0">
              <a:buNone/>
              <a:defRPr sz="1600" b="1"/>
            </a:lvl4pPr>
            <a:lvl5pPr marL="1823122" indent="0">
              <a:buNone/>
              <a:defRPr sz="1600" b="1"/>
            </a:lvl5pPr>
            <a:lvl6pPr marL="2278912" indent="0">
              <a:buNone/>
              <a:defRPr sz="1600" b="1"/>
            </a:lvl6pPr>
            <a:lvl7pPr marL="2734693" indent="0">
              <a:buNone/>
              <a:defRPr sz="1600" b="1"/>
            </a:lvl7pPr>
            <a:lvl8pPr marL="3190475" indent="0">
              <a:buNone/>
              <a:defRPr sz="1600" b="1"/>
            </a:lvl8pPr>
            <a:lvl9pPr marL="364625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5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77" indent="0">
              <a:buNone/>
              <a:defRPr sz="2100" b="1"/>
            </a:lvl2pPr>
            <a:lvl3pPr marL="911553" indent="0">
              <a:buNone/>
              <a:defRPr sz="1900" b="1"/>
            </a:lvl3pPr>
            <a:lvl4pPr marL="1367337" indent="0">
              <a:buNone/>
              <a:defRPr sz="1600" b="1"/>
            </a:lvl4pPr>
            <a:lvl5pPr marL="1823122" indent="0">
              <a:buNone/>
              <a:defRPr sz="1600" b="1"/>
            </a:lvl5pPr>
            <a:lvl6pPr marL="2278912" indent="0">
              <a:buNone/>
              <a:defRPr sz="1600" b="1"/>
            </a:lvl6pPr>
            <a:lvl7pPr marL="2734693" indent="0">
              <a:buNone/>
              <a:defRPr sz="1600" b="1"/>
            </a:lvl7pPr>
            <a:lvl8pPr marL="3190475" indent="0">
              <a:buNone/>
              <a:defRPr sz="1600" b="1"/>
            </a:lvl8pPr>
            <a:lvl9pPr marL="364625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422210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613087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120645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100"/>
            </a:lvl1pPr>
            <a:lvl2pPr>
              <a:defRPr sz="28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777" indent="0">
              <a:buNone/>
              <a:defRPr sz="1200"/>
            </a:lvl2pPr>
            <a:lvl3pPr marL="911553" indent="0">
              <a:buNone/>
              <a:defRPr sz="1000"/>
            </a:lvl3pPr>
            <a:lvl4pPr marL="1367337" indent="0">
              <a:buNone/>
              <a:defRPr sz="900"/>
            </a:lvl4pPr>
            <a:lvl5pPr marL="1823122" indent="0">
              <a:buNone/>
              <a:defRPr sz="900"/>
            </a:lvl5pPr>
            <a:lvl6pPr marL="2278912" indent="0">
              <a:buNone/>
              <a:defRPr sz="900"/>
            </a:lvl6pPr>
            <a:lvl7pPr marL="2734693" indent="0">
              <a:buNone/>
              <a:defRPr sz="900"/>
            </a:lvl7pPr>
            <a:lvl8pPr marL="3190475" indent="0">
              <a:buNone/>
              <a:defRPr sz="900"/>
            </a:lvl8pPr>
            <a:lvl9pPr marL="364625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6414204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100"/>
            </a:lvl1pPr>
            <a:lvl2pPr marL="455777" indent="0">
              <a:buNone/>
              <a:defRPr sz="2800"/>
            </a:lvl2pPr>
            <a:lvl3pPr marL="911553" indent="0">
              <a:buNone/>
              <a:defRPr sz="2400"/>
            </a:lvl3pPr>
            <a:lvl4pPr marL="1367337" indent="0">
              <a:buNone/>
              <a:defRPr sz="2100"/>
            </a:lvl4pPr>
            <a:lvl5pPr marL="1823122" indent="0">
              <a:buNone/>
              <a:defRPr sz="2100"/>
            </a:lvl5pPr>
            <a:lvl6pPr marL="2278912" indent="0">
              <a:buNone/>
              <a:defRPr sz="2100"/>
            </a:lvl6pPr>
            <a:lvl7pPr marL="2734693" indent="0">
              <a:buNone/>
              <a:defRPr sz="2100"/>
            </a:lvl7pPr>
            <a:lvl8pPr marL="3190475" indent="0">
              <a:buNone/>
              <a:defRPr sz="2100"/>
            </a:lvl8pPr>
            <a:lvl9pPr marL="3646257" indent="0">
              <a:buNone/>
              <a:defRPr sz="21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777" indent="0">
              <a:buNone/>
              <a:defRPr sz="1200"/>
            </a:lvl2pPr>
            <a:lvl3pPr marL="911553" indent="0">
              <a:buNone/>
              <a:defRPr sz="1000"/>
            </a:lvl3pPr>
            <a:lvl4pPr marL="1367337" indent="0">
              <a:buNone/>
              <a:defRPr sz="900"/>
            </a:lvl4pPr>
            <a:lvl5pPr marL="1823122" indent="0">
              <a:buNone/>
              <a:defRPr sz="900"/>
            </a:lvl5pPr>
            <a:lvl6pPr marL="2278912" indent="0">
              <a:buNone/>
              <a:defRPr sz="900"/>
            </a:lvl6pPr>
            <a:lvl7pPr marL="2734693" indent="0">
              <a:buNone/>
              <a:defRPr sz="900"/>
            </a:lvl7pPr>
            <a:lvl8pPr marL="3190475" indent="0">
              <a:buNone/>
              <a:defRPr sz="900"/>
            </a:lvl8pPr>
            <a:lvl9pPr marL="364625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51426459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1793836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81" y="1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9" y="1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497821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2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825" indent="0">
              <a:buNone/>
              <a:defRPr sz="1800"/>
            </a:lvl2pPr>
            <a:lvl3pPr marL="911651" indent="0">
              <a:buNone/>
              <a:defRPr sz="1600"/>
            </a:lvl3pPr>
            <a:lvl4pPr marL="1367481" indent="0">
              <a:buNone/>
              <a:defRPr sz="1400"/>
            </a:lvl4pPr>
            <a:lvl5pPr marL="1823316" indent="0">
              <a:buNone/>
              <a:defRPr sz="1400"/>
            </a:lvl5pPr>
            <a:lvl6pPr marL="2279151" indent="0">
              <a:buNone/>
              <a:defRPr sz="1400"/>
            </a:lvl6pPr>
            <a:lvl7pPr marL="2734982" indent="0">
              <a:buNone/>
              <a:defRPr sz="1400"/>
            </a:lvl7pPr>
            <a:lvl8pPr marL="3190813" indent="0">
              <a:buNone/>
              <a:defRPr sz="1400"/>
            </a:lvl8pPr>
            <a:lvl9pPr marL="3646644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7396043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1"/>
            <a:ext cx="8424862" cy="6273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102490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31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731" y="190502"/>
            <a:ext cx="9132277" cy="18446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864249" y="4676809"/>
            <a:ext cx="5292969" cy="21955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</p:spTree>
    <p:extLst>
      <p:ext uri="{BB962C8B-B14F-4D97-AF65-F5344CB8AC3E}">
        <p14:creationId xmlns:p14="http://schemas.microsoft.com/office/powerpoint/2010/main" val="3387305488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99" y="1509740"/>
            <a:ext cx="8274051" cy="4613275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1737936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76" y="163513"/>
            <a:ext cx="8274050" cy="831850"/>
          </a:xfrm>
        </p:spPr>
        <p:txBody>
          <a:bodyPr/>
          <a:lstStyle/>
          <a:p>
            <a:r>
              <a:rPr lang="ru-RU" smtClean="0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99" y="1509740"/>
            <a:ext cx="8274051" cy="4613275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378134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1" y="293689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51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7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3135438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188496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2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777" indent="0">
              <a:buNone/>
              <a:defRPr sz="1800"/>
            </a:lvl2pPr>
            <a:lvl3pPr marL="911553" indent="0">
              <a:buNone/>
              <a:defRPr sz="1600"/>
            </a:lvl3pPr>
            <a:lvl4pPr marL="1367337" indent="0">
              <a:buNone/>
              <a:defRPr sz="1400"/>
            </a:lvl4pPr>
            <a:lvl5pPr marL="1823122" indent="0">
              <a:buNone/>
              <a:defRPr sz="1400"/>
            </a:lvl5pPr>
            <a:lvl6pPr marL="2278912" indent="0">
              <a:buNone/>
              <a:defRPr sz="1400"/>
            </a:lvl6pPr>
            <a:lvl7pPr marL="2734693" indent="0">
              <a:buNone/>
              <a:defRPr sz="1400"/>
            </a:lvl7pPr>
            <a:lvl8pPr marL="3190475" indent="0">
              <a:buNone/>
              <a:defRPr sz="1400"/>
            </a:lvl8pPr>
            <a:lvl9pPr marL="3646257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400424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40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5" y="1125540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620777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77" indent="0">
              <a:buNone/>
              <a:defRPr sz="2000" b="1"/>
            </a:lvl2pPr>
            <a:lvl3pPr marL="911553" indent="0">
              <a:buNone/>
              <a:defRPr sz="1800" b="1"/>
            </a:lvl3pPr>
            <a:lvl4pPr marL="1367337" indent="0">
              <a:buNone/>
              <a:defRPr sz="1600" b="1"/>
            </a:lvl4pPr>
            <a:lvl5pPr marL="1823122" indent="0">
              <a:buNone/>
              <a:defRPr sz="1600" b="1"/>
            </a:lvl5pPr>
            <a:lvl6pPr marL="2278912" indent="0">
              <a:buNone/>
              <a:defRPr sz="1600" b="1"/>
            </a:lvl6pPr>
            <a:lvl7pPr marL="2734693" indent="0">
              <a:buNone/>
              <a:defRPr sz="1600" b="1"/>
            </a:lvl7pPr>
            <a:lvl8pPr marL="3190475" indent="0">
              <a:buNone/>
              <a:defRPr sz="1600" b="1"/>
            </a:lvl8pPr>
            <a:lvl9pPr marL="364625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5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77" indent="0">
              <a:buNone/>
              <a:defRPr sz="2000" b="1"/>
            </a:lvl2pPr>
            <a:lvl3pPr marL="911553" indent="0">
              <a:buNone/>
              <a:defRPr sz="1800" b="1"/>
            </a:lvl3pPr>
            <a:lvl4pPr marL="1367337" indent="0">
              <a:buNone/>
              <a:defRPr sz="1600" b="1"/>
            </a:lvl4pPr>
            <a:lvl5pPr marL="1823122" indent="0">
              <a:buNone/>
              <a:defRPr sz="1600" b="1"/>
            </a:lvl5pPr>
            <a:lvl6pPr marL="2278912" indent="0">
              <a:buNone/>
              <a:defRPr sz="1600" b="1"/>
            </a:lvl6pPr>
            <a:lvl7pPr marL="2734693" indent="0">
              <a:buNone/>
              <a:defRPr sz="1600" b="1"/>
            </a:lvl7pPr>
            <a:lvl8pPr marL="3190475" indent="0">
              <a:buNone/>
              <a:defRPr sz="1600" b="1"/>
            </a:lvl8pPr>
            <a:lvl9pPr marL="364625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5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603047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17697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5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98959958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952197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777" indent="0">
              <a:buNone/>
              <a:defRPr sz="1200"/>
            </a:lvl2pPr>
            <a:lvl3pPr marL="911553" indent="0">
              <a:buNone/>
              <a:defRPr sz="1000"/>
            </a:lvl3pPr>
            <a:lvl4pPr marL="1367337" indent="0">
              <a:buNone/>
              <a:defRPr sz="900"/>
            </a:lvl4pPr>
            <a:lvl5pPr marL="1823122" indent="0">
              <a:buNone/>
              <a:defRPr sz="900"/>
            </a:lvl5pPr>
            <a:lvl6pPr marL="2278912" indent="0">
              <a:buNone/>
              <a:defRPr sz="900"/>
            </a:lvl6pPr>
            <a:lvl7pPr marL="2734693" indent="0">
              <a:buNone/>
              <a:defRPr sz="900"/>
            </a:lvl7pPr>
            <a:lvl8pPr marL="3190475" indent="0">
              <a:buNone/>
              <a:defRPr sz="900"/>
            </a:lvl8pPr>
            <a:lvl9pPr marL="364625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24574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777" indent="0">
              <a:buNone/>
              <a:defRPr sz="2800"/>
            </a:lvl2pPr>
            <a:lvl3pPr marL="911553" indent="0">
              <a:buNone/>
              <a:defRPr sz="2400"/>
            </a:lvl3pPr>
            <a:lvl4pPr marL="1367337" indent="0">
              <a:buNone/>
              <a:defRPr sz="2000"/>
            </a:lvl4pPr>
            <a:lvl5pPr marL="1823122" indent="0">
              <a:buNone/>
              <a:defRPr sz="2000"/>
            </a:lvl5pPr>
            <a:lvl6pPr marL="2278912" indent="0">
              <a:buNone/>
              <a:defRPr sz="2000"/>
            </a:lvl6pPr>
            <a:lvl7pPr marL="2734693" indent="0">
              <a:buNone/>
              <a:defRPr sz="2000"/>
            </a:lvl7pPr>
            <a:lvl8pPr marL="3190475" indent="0">
              <a:buNone/>
              <a:defRPr sz="2000"/>
            </a:lvl8pPr>
            <a:lvl9pPr marL="3646257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777" indent="0">
              <a:buNone/>
              <a:defRPr sz="1200"/>
            </a:lvl2pPr>
            <a:lvl3pPr marL="911553" indent="0">
              <a:buNone/>
              <a:defRPr sz="1000"/>
            </a:lvl3pPr>
            <a:lvl4pPr marL="1367337" indent="0">
              <a:buNone/>
              <a:defRPr sz="900"/>
            </a:lvl4pPr>
            <a:lvl5pPr marL="1823122" indent="0">
              <a:buNone/>
              <a:defRPr sz="900"/>
            </a:lvl5pPr>
            <a:lvl6pPr marL="2278912" indent="0">
              <a:buNone/>
              <a:defRPr sz="900"/>
            </a:lvl6pPr>
            <a:lvl7pPr marL="2734693" indent="0">
              <a:buNone/>
              <a:defRPr sz="900"/>
            </a:lvl7pPr>
            <a:lvl8pPr marL="3190475" indent="0">
              <a:buNone/>
              <a:defRPr sz="900"/>
            </a:lvl8pPr>
            <a:lvl9pPr marL="364625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834314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362719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75" y="1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1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78672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7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8" y="349867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8" y="508602"/>
            <a:ext cx="293757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9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8" y="668957"/>
            <a:ext cx="2547950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900" dirty="0" smtClean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  <a:cs typeface="Arial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  <a:cs typeface="Arial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40"/>
              <a:ext cx="3226" cy="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8744" eaLnBrk="0" hangingPunct="0"/>
              <a:r>
                <a:rPr lang="ru-RU" sz="800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18744" eaLnBrk="0" hangingPunct="0"/>
              <a:r>
                <a:rPr lang="ru-RU" sz="800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85" y="657457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2693795" y="3173329"/>
            <a:ext cx="5036084" cy="507831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1" name="navigation8" descr="ujkm,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30448" y="299655"/>
            <a:ext cx="1708932" cy="151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7710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9189" y="301936"/>
            <a:ext cx="8016871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7006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0" y="164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0" y="1648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349866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1456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3"/>
            <a:ext cx="32362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8"/>
            <a:ext cx="28976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32" y="503095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32" y="5304690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3" y="3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001" tIns="46512" rIns="93001" bIns="46512" anchor="ctr"/>
          <a:lstStyle/>
          <a:p>
            <a:pPr defTabSz="911456"/>
            <a:endParaRPr lang="ru-RU" sz="16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87" y="657457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99602" y="3173332"/>
            <a:ext cx="7865365" cy="507831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899592" y="5085184"/>
            <a:ext cx="2664296" cy="219820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4617894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94372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312" y="243639"/>
            <a:ext cx="1535290" cy="110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76217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29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1456"/>
            <a:fld id="{42C328C1-A84F-4A39-A664-DBA00541A8C6}" type="slidenum">
              <a:rPr lang="en-US" smtClean="0">
                <a:solidFill>
                  <a:srgbClr val="000000"/>
                </a:solidFill>
                <a:cs typeface="+mn-cs"/>
              </a:rPr>
              <a:pPr defTabSz="911456"/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869177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01030F74-A1BA-48BC-BF40-12D66AC8A7E1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681611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5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5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4961847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3714789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8688413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1456" eaLnBrk="1" hangingPunct="1"/>
            <a:r>
              <a:rPr lang="en-US" altLang="ru-RU" sz="900">
                <a:solidFill>
                  <a:srgbClr val="414142"/>
                </a:solidFill>
              </a:rPr>
              <a:t>‹#›</a:t>
            </a:r>
          </a:p>
          <a:p>
            <a:pPr algn="r" defTabSz="911456" eaLnBrk="1" hangingPunct="1"/>
            <a:endParaRPr lang="en-US" altLang="ru-RU" sz="900">
              <a:solidFill>
                <a:srgbClr val="41414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729" y="332621"/>
            <a:ext cx="6996284" cy="29678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116632"/>
            <a:ext cx="925217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6448450"/>
            <a:ext cx="627062" cy="377825"/>
          </a:xfrm>
          <a:prstGeom prst="rect">
            <a:avLst/>
          </a:prstGeom>
          <a:ln/>
        </p:spPr>
        <p:txBody>
          <a:bodyPr lIns="91165" tIns="45595" rIns="91165" bIns="45595"/>
          <a:lstStyle>
            <a:lvl1pPr>
              <a:defRPr/>
            </a:lvl1pPr>
          </a:lstStyle>
          <a:p>
            <a:pPr defTabSz="911456" fontAlgn="auto">
              <a:spcBef>
                <a:spcPts val="0"/>
              </a:spcBef>
              <a:spcAft>
                <a:spcPts val="0"/>
              </a:spcAft>
              <a:defRPr/>
            </a:pPr>
            <a:fld id="{71F1C617-351A-4317-A37F-39B60DDFAA1D}" type="slidenum">
              <a:rPr lang="ru-RU" smtClean="0">
                <a:solidFill>
                  <a:srgbClr val="003274"/>
                </a:solidFill>
                <a:latin typeface="Arial"/>
                <a:cs typeface="+mn-cs"/>
              </a:rPr>
              <a:pPr defTabSz="9114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80114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0" y="164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5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0" y="1648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349866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1456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3"/>
            <a:ext cx="32362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8"/>
            <a:ext cx="28976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32" y="503095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32" y="5304690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3" y="3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001" tIns="46512" rIns="93001" bIns="46512" anchor="ctr"/>
          <a:lstStyle/>
          <a:p>
            <a:pPr defTabSz="911456"/>
            <a:endParaRPr lang="ru-RU" sz="16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87" y="657457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99602" y="3173332"/>
            <a:ext cx="7865365" cy="507831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899592" y="5085184"/>
            <a:ext cx="2664296" cy="219820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4617894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94372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312" y="243639"/>
            <a:ext cx="1535290" cy="110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722840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29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1456"/>
            <a:fld id="{42C328C1-A84F-4A39-A664-DBA00541A8C6}" type="slidenum">
              <a:rPr lang="en-US" smtClean="0">
                <a:solidFill>
                  <a:srgbClr val="000000"/>
                </a:solidFill>
                <a:cs typeface="+mn-cs"/>
              </a:rPr>
              <a:pPr defTabSz="911456"/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48801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01030F74-A1BA-48BC-BF40-12D66AC8A7E1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9824969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3553934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8688413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1456" eaLnBrk="1" hangingPunct="1"/>
            <a:r>
              <a:rPr lang="en-US" altLang="ru-RU" sz="900">
                <a:solidFill>
                  <a:srgbClr val="414142"/>
                </a:solidFill>
              </a:rPr>
              <a:t>‹#›</a:t>
            </a:r>
          </a:p>
          <a:p>
            <a:pPr algn="r" defTabSz="911456" eaLnBrk="1" hangingPunct="1"/>
            <a:endParaRPr lang="en-US" altLang="ru-RU" sz="900">
              <a:solidFill>
                <a:srgbClr val="41414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729" y="332621"/>
            <a:ext cx="6996284" cy="29678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116632"/>
            <a:ext cx="925217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6448450"/>
            <a:ext cx="627062" cy="377825"/>
          </a:xfrm>
          <a:prstGeom prst="rect">
            <a:avLst/>
          </a:prstGeom>
          <a:ln/>
        </p:spPr>
        <p:txBody>
          <a:bodyPr lIns="91165" tIns="45595" rIns="91165" bIns="45595"/>
          <a:lstStyle>
            <a:lvl1pPr>
              <a:defRPr/>
            </a:lvl1pPr>
          </a:lstStyle>
          <a:p>
            <a:pPr defTabSz="911456" fontAlgn="auto">
              <a:spcBef>
                <a:spcPts val="0"/>
              </a:spcBef>
              <a:spcAft>
                <a:spcPts val="0"/>
              </a:spcAft>
              <a:defRPr/>
            </a:pPr>
            <a:fld id="{71F1C617-351A-4317-A37F-39B60DDFAA1D}" type="slidenum">
              <a:rPr lang="ru-RU" smtClean="0">
                <a:solidFill>
                  <a:srgbClr val="003274"/>
                </a:solidFill>
                <a:latin typeface="Arial"/>
                <a:cs typeface="+mn-cs"/>
              </a:rPr>
              <a:pPr defTabSz="9114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4085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0" y="164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9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0" y="1648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349866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1456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3"/>
            <a:ext cx="32362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8"/>
            <a:ext cx="28976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32" y="503095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32" y="5304690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3" y="3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001" tIns="46512" rIns="93001" bIns="46512" anchor="ctr"/>
          <a:lstStyle/>
          <a:p>
            <a:pPr defTabSz="911456"/>
            <a:endParaRPr lang="ru-RU" sz="16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87" y="657457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99602" y="3173332"/>
            <a:ext cx="7865365" cy="507831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899592" y="5085184"/>
            <a:ext cx="2664296" cy="219820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4617894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94372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312" y="243639"/>
            <a:ext cx="1535290" cy="110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8795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29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1456"/>
            <a:fld id="{42C328C1-A84F-4A39-A664-DBA00541A8C6}" type="slidenum">
              <a:rPr lang="en-US" smtClean="0">
                <a:solidFill>
                  <a:srgbClr val="000000"/>
                </a:solidFill>
                <a:cs typeface="+mn-cs"/>
              </a:rPr>
              <a:pPr defTabSz="911456"/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20237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01030F74-A1BA-48BC-BF40-12D66AC8A7E1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16648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00492188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8688413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1456" eaLnBrk="1" hangingPunct="1"/>
            <a:r>
              <a:rPr lang="en-US" altLang="ru-RU" sz="900">
                <a:solidFill>
                  <a:srgbClr val="414142"/>
                </a:solidFill>
              </a:rPr>
              <a:t>‹#›</a:t>
            </a:r>
          </a:p>
          <a:p>
            <a:pPr algn="r" defTabSz="911456" eaLnBrk="1" hangingPunct="1"/>
            <a:endParaRPr lang="en-US" altLang="ru-RU" sz="900">
              <a:solidFill>
                <a:srgbClr val="41414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729" y="332621"/>
            <a:ext cx="6996284" cy="29678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116632"/>
            <a:ext cx="925217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6448450"/>
            <a:ext cx="627062" cy="377825"/>
          </a:xfrm>
          <a:prstGeom prst="rect">
            <a:avLst/>
          </a:prstGeom>
          <a:ln/>
        </p:spPr>
        <p:txBody>
          <a:bodyPr lIns="91165" tIns="45595" rIns="91165" bIns="45595"/>
          <a:lstStyle>
            <a:lvl1pPr>
              <a:defRPr/>
            </a:lvl1pPr>
          </a:lstStyle>
          <a:p>
            <a:pPr defTabSz="911456" fontAlgn="auto">
              <a:spcBef>
                <a:spcPts val="0"/>
              </a:spcBef>
              <a:spcAft>
                <a:spcPts val="0"/>
              </a:spcAft>
              <a:defRPr/>
            </a:pPr>
            <a:fld id="{71F1C617-351A-4317-A37F-39B60DDFAA1D}" type="slidenum">
              <a:rPr lang="ru-RU" smtClean="0">
                <a:solidFill>
                  <a:srgbClr val="003274"/>
                </a:solidFill>
                <a:latin typeface="Arial"/>
                <a:cs typeface="+mn-cs"/>
              </a:rPr>
              <a:pPr defTabSz="9114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6985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0" y="164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0" y="1648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349866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1456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3"/>
            <a:ext cx="32362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8"/>
            <a:ext cx="28976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32" y="503095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32" y="5304690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3" y="3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001" tIns="46512" rIns="93001" bIns="46512" anchor="ctr"/>
          <a:lstStyle/>
          <a:p>
            <a:pPr defTabSz="911456"/>
            <a:endParaRPr lang="ru-RU" sz="16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87" y="657457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99602" y="3173332"/>
            <a:ext cx="7865365" cy="507831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899592" y="5085184"/>
            <a:ext cx="2664296" cy="219820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4617894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94372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312" y="243639"/>
            <a:ext cx="1535290" cy="110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09052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29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1456"/>
            <a:fld id="{42C328C1-A84F-4A39-A664-DBA00541A8C6}" type="slidenum">
              <a:rPr lang="en-US" smtClean="0">
                <a:solidFill>
                  <a:srgbClr val="000000"/>
                </a:solidFill>
                <a:cs typeface="+mn-cs"/>
              </a:rPr>
              <a:pPr defTabSz="911456"/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3292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01030F74-A1BA-48BC-BF40-12D66AC8A7E1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701526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8688413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1456" eaLnBrk="1" hangingPunct="1"/>
            <a:r>
              <a:rPr lang="en-US" altLang="ru-RU" sz="900">
                <a:solidFill>
                  <a:srgbClr val="414142"/>
                </a:solidFill>
              </a:rPr>
              <a:t>‹#›</a:t>
            </a:r>
          </a:p>
          <a:p>
            <a:pPr algn="r" defTabSz="911456" eaLnBrk="1" hangingPunct="1"/>
            <a:endParaRPr lang="en-US" altLang="ru-RU" sz="900">
              <a:solidFill>
                <a:srgbClr val="41414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729" y="332621"/>
            <a:ext cx="6996284" cy="29678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116632"/>
            <a:ext cx="925217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6448450"/>
            <a:ext cx="627062" cy="377825"/>
          </a:xfrm>
          <a:prstGeom prst="rect">
            <a:avLst/>
          </a:prstGeom>
          <a:ln/>
        </p:spPr>
        <p:txBody>
          <a:bodyPr lIns="91165" tIns="45595" rIns="91165" bIns="45595"/>
          <a:lstStyle>
            <a:lvl1pPr>
              <a:defRPr/>
            </a:lvl1pPr>
          </a:lstStyle>
          <a:p>
            <a:pPr defTabSz="911456" fontAlgn="auto">
              <a:spcBef>
                <a:spcPts val="0"/>
              </a:spcBef>
              <a:spcAft>
                <a:spcPts val="0"/>
              </a:spcAft>
              <a:defRPr/>
            </a:pPr>
            <a:fld id="{71F1C617-351A-4317-A37F-39B60DDFAA1D}" type="slidenum">
              <a:rPr lang="ru-RU" smtClean="0">
                <a:solidFill>
                  <a:srgbClr val="003274"/>
                </a:solidFill>
                <a:latin typeface="Arial"/>
                <a:cs typeface="+mn-cs"/>
              </a:rPr>
              <a:pPr defTabSz="9114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26771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0" y="164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0" y="1648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349866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1456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3"/>
            <a:ext cx="32362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8"/>
            <a:ext cx="28976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32" y="503095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32" y="5304690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3" y="3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001" tIns="46512" rIns="93001" bIns="46512" anchor="ctr"/>
          <a:lstStyle/>
          <a:p>
            <a:pPr defTabSz="911456"/>
            <a:endParaRPr lang="ru-RU" sz="16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87" y="657457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99602" y="3173332"/>
            <a:ext cx="7865365" cy="507831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899592" y="5085184"/>
            <a:ext cx="2664296" cy="219820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4617894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94372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312" y="243639"/>
            <a:ext cx="1535290" cy="110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8955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29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1456"/>
            <a:fld id="{42C328C1-A84F-4A39-A664-DBA00541A8C6}" type="slidenum">
              <a:rPr lang="en-US" smtClean="0">
                <a:solidFill>
                  <a:srgbClr val="000000"/>
                </a:solidFill>
                <a:cs typeface="+mn-cs"/>
              </a:rPr>
              <a:pPr defTabSz="911456"/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72659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01030F74-A1BA-48BC-BF40-12D66AC8A7E1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5592233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8688413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1456" eaLnBrk="1" hangingPunct="1"/>
            <a:r>
              <a:rPr lang="en-US" altLang="ru-RU" sz="900">
                <a:solidFill>
                  <a:srgbClr val="414142"/>
                </a:solidFill>
              </a:rPr>
              <a:t>‹#›</a:t>
            </a:r>
          </a:p>
          <a:p>
            <a:pPr algn="r" defTabSz="911456" eaLnBrk="1" hangingPunct="1"/>
            <a:endParaRPr lang="en-US" altLang="ru-RU" sz="900">
              <a:solidFill>
                <a:srgbClr val="41414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729" y="332621"/>
            <a:ext cx="6996284" cy="29678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116632"/>
            <a:ext cx="925217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6448450"/>
            <a:ext cx="627062" cy="377825"/>
          </a:xfrm>
          <a:prstGeom prst="rect">
            <a:avLst/>
          </a:prstGeom>
          <a:ln/>
        </p:spPr>
        <p:txBody>
          <a:bodyPr lIns="91165" tIns="45595" rIns="91165" bIns="45595"/>
          <a:lstStyle>
            <a:lvl1pPr>
              <a:defRPr/>
            </a:lvl1pPr>
          </a:lstStyle>
          <a:p>
            <a:pPr defTabSz="911456" fontAlgn="auto">
              <a:spcBef>
                <a:spcPts val="0"/>
              </a:spcBef>
              <a:spcAft>
                <a:spcPts val="0"/>
              </a:spcAft>
              <a:defRPr/>
            </a:pPr>
            <a:fld id="{71F1C617-351A-4317-A37F-39B60DDFAA1D}" type="slidenum">
              <a:rPr lang="ru-RU" smtClean="0">
                <a:solidFill>
                  <a:srgbClr val="003274"/>
                </a:solidFill>
                <a:latin typeface="Arial"/>
                <a:cs typeface="+mn-cs"/>
              </a:rPr>
              <a:pPr defTabSz="9114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9284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0" y="164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0" y="1648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349866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1456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3"/>
            <a:ext cx="32362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8"/>
            <a:ext cx="28976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32" y="503095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32" y="5304690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3" y="3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001" tIns="46512" rIns="93001" bIns="46512" anchor="ctr"/>
          <a:lstStyle/>
          <a:p>
            <a:pPr defTabSz="911456"/>
            <a:endParaRPr lang="ru-RU" sz="16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87" y="657457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99602" y="3173332"/>
            <a:ext cx="7865365" cy="507831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899592" y="5085184"/>
            <a:ext cx="2664296" cy="219820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4617894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94372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312" y="243639"/>
            <a:ext cx="1535290" cy="110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81690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56319288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29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1456"/>
            <a:fld id="{42C328C1-A84F-4A39-A664-DBA00541A8C6}" type="slidenum">
              <a:rPr lang="en-US" smtClean="0">
                <a:solidFill>
                  <a:srgbClr val="000000"/>
                </a:solidFill>
                <a:cs typeface="+mn-cs"/>
              </a:rPr>
              <a:pPr defTabSz="911456"/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39219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719630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456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1456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3428951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8688413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1456" eaLnBrk="1" hangingPunct="1"/>
            <a:r>
              <a:rPr lang="en-US" altLang="ru-RU" sz="900">
                <a:solidFill>
                  <a:srgbClr val="414142"/>
                </a:solidFill>
              </a:rPr>
              <a:t>‹#›</a:t>
            </a:r>
          </a:p>
          <a:p>
            <a:pPr algn="r" defTabSz="911456" eaLnBrk="1" hangingPunct="1"/>
            <a:endParaRPr lang="en-US" altLang="ru-RU" sz="900">
              <a:solidFill>
                <a:srgbClr val="41414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729" y="332621"/>
            <a:ext cx="6996284" cy="29678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116632"/>
            <a:ext cx="925217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6448450"/>
            <a:ext cx="627062" cy="377825"/>
          </a:xfrm>
          <a:prstGeom prst="rect">
            <a:avLst/>
          </a:prstGeom>
          <a:ln/>
        </p:spPr>
        <p:txBody>
          <a:bodyPr lIns="91165" tIns="45595" rIns="91165" bIns="45595"/>
          <a:lstStyle>
            <a:lvl1pPr>
              <a:defRPr/>
            </a:lvl1pPr>
          </a:lstStyle>
          <a:p>
            <a:pPr defTabSz="911456" fontAlgn="auto">
              <a:spcBef>
                <a:spcPts val="0"/>
              </a:spcBef>
              <a:spcAft>
                <a:spcPts val="0"/>
              </a:spcAft>
              <a:defRPr/>
            </a:pPr>
            <a:fld id="{71F1C617-351A-4317-A37F-39B60DDFAA1D}" type="slidenum">
              <a:rPr lang="ru-RU" smtClean="0">
                <a:solidFill>
                  <a:srgbClr val="003274"/>
                </a:solidFill>
                <a:latin typeface="Arial"/>
                <a:cs typeface="+mn-cs"/>
              </a:rPr>
              <a:pPr defTabSz="9114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648061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6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8" y="349867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8" y="508602"/>
            <a:ext cx="293757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9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8" y="668957"/>
            <a:ext cx="2547950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900" dirty="0" smtClean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  <a:cs typeface="Arial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  <a:cs typeface="Arial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40"/>
              <a:ext cx="3226" cy="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8744" eaLnBrk="0" hangingPunct="0"/>
              <a:r>
                <a:rPr lang="ru-RU" sz="800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18744" eaLnBrk="0" hangingPunct="0"/>
              <a:r>
                <a:rPr lang="ru-RU" sz="800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85" y="657457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2693795" y="3173329"/>
            <a:ext cx="5036084" cy="507831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1" name="navigation8" descr="ujkm,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30448" y="299655"/>
            <a:ext cx="1708932" cy="151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05761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9189" y="301936"/>
            <a:ext cx="8016871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7187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1" y="293689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50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7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57788433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50"/>
            <a:ext cx="627062" cy="377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4967390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1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36835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1.06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59119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9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8" y="349867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8" y="508602"/>
            <a:ext cx="293757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9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8" y="668957"/>
            <a:ext cx="2547950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900" dirty="0" smtClean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  <a:cs typeface="Arial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  <a:cs typeface="Arial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40"/>
              <a:ext cx="3226" cy="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8744" eaLnBrk="0" hangingPunct="0"/>
              <a:r>
                <a:rPr lang="ru-RU" sz="800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18744" eaLnBrk="0" hangingPunct="0"/>
              <a:r>
                <a:rPr lang="ru-RU" sz="800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600" dirty="0">
                <a:solidFill>
                  <a:srgbClr val="000000"/>
                </a:solidFill>
                <a:latin typeface="Arial" charset="0"/>
                <a:cs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85" y="657457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>
          <a:xfrm>
            <a:off x="2693795" y="3173329"/>
            <a:ext cx="5036084" cy="507831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1" name="navigation8" descr="ujkm,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30448" y="299655"/>
            <a:ext cx="1708932" cy="151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51378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57504742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9189" y="301936"/>
            <a:ext cx="8016871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510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0231710"/>
              </p:ext>
            </p:extLst>
          </p:nvPr>
        </p:nvGraphicFramePr>
        <p:xfrm>
          <a:off x="1629" y="162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98" name="think-cell Slide" r:id="rId17" imgW="338" imgH="338" progId="TCLayout.ActiveDocument.1">
                  <p:embed/>
                </p:oleObj>
              </mc:Choice>
              <mc:Fallback>
                <p:oleObj name="think-cell Slide" r:id="rId17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29" y="162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6" y="349866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520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520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5" y="508601"/>
            <a:ext cx="32362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520"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7" y="668956"/>
            <a:ext cx="28976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520"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050726" y="5030936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520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050726" y="5304673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520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" y="1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08" tIns="46607" rIns="93208" bIns="46607" anchor="ctr"/>
          <a:lstStyle/>
          <a:p>
            <a:pPr defTabSz="913520"/>
            <a:endParaRPr lang="ru-RU" sz="16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8" y="657455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1"/>
            </p:custDataLst>
          </p:nvPr>
        </p:nvSpPr>
        <p:spPr>
          <a:xfrm>
            <a:off x="2050718" y="2919389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2050718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4617894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94370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83092" y="394377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04109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10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3520"/>
            <a:fld id="{42C328C1-A84F-4A39-A664-DBA00541A8C6}" type="slidenum">
              <a:rPr lang="en-US" smtClean="0">
                <a:solidFill>
                  <a:srgbClr val="000000"/>
                </a:solidFill>
                <a:cs typeface="+mn-cs"/>
              </a:rPr>
              <a:pPr defTabSz="913520"/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34815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11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3520"/>
            <a:fld id="{01030F74-A1BA-48BC-BF40-12D66AC8A7E1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3520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11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3520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3520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7940066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719611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3520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3520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0204884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4798562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46" name="think-cell Slide" r:id="rId17" imgW="338" imgH="338" progId="TCLayout.ActiveDocument.1">
                  <p:embed/>
                </p:oleObj>
              </mc:Choice>
              <mc:Fallback>
                <p:oleObj name="think-cell Slide" r:id="rId17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6" y="349866"/>
            <a:ext cx="1025922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0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290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5" y="508601"/>
            <a:ext cx="32362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0" eaLnBrk="1" hangingPunct="1">
              <a:defRPr/>
            </a:pPr>
            <a:r>
              <a:rPr lang="en-US" sz="9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7" y="668956"/>
            <a:ext cx="2897634" cy="142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0"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050719" y="5030929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0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050719" y="5304666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0"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" y="1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85" tIns="46642" rIns="93285" bIns="46642" anchor="ctr"/>
          <a:lstStyle/>
          <a:p>
            <a:pPr defTabSz="914290"/>
            <a:endParaRPr lang="ru-RU" sz="16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1" y="6574546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1"/>
            </p:custDataLst>
          </p:nvPr>
        </p:nvSpPr>
        <p:spPr>
          <a:xfrm>
            <a:off x="2050718" y="2919389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2050718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4617894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94370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83091" y="394377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99588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290"/>
            <a:fld id="{42C328C1-A84F-4A39-A664-DBA00541A8C6}" type="slidenum">
              <a:rPr lang="en-US" smtClean="0">
                <a:solidFill>
                  <a:srgbClr val="000000"/>
                </a:solidFill>
                <a:cs typeface="+mn-cs"/>
              </a:rPr>
              <a:pPr defTabSz="914290"/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337151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867176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290"/>
            <a:fld id="{01030F74-A1BA-48BC-BF40-12D66AC8A7E1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4290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290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4290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9781575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290"/>
            <a:fld id="{3FEC8CAC-A4C1-46D2-824A-DB3AAAD52DF3}" type="slidenum">
              <a:rPr lang="ru-RU" sz="1000" smtClean="0">
                <a:solidFill>
                  <a:srgbClr val="000000"/>
                </a:solidFill>
                <a:latin typeface="Arial"/>
                <a:cs typeface="+mn-cs"/>
              </a:rPr>
              <a:pPr defTabSz="914290"/>
              <a:t>‹#›</a:t>
            </a:fld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6656209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3484030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825" indent="0">
              <a:buNone/>
              <a:defRPr sz="2800"/>
            </a:lvl2pPr>
            <a:lvl3pPr marL="911651" indent="0">
              <a:buNone/>
              <a:defRPr sz="2400"/>
            </a:lvl3pPr>
            <a:lvl4pPr marL="1367481" indent="0">
              <a:buNone/>
              <a:defRPr sz="2000"/>
            </a:lvl4pPr>
            <a:lvl5pPr marL="1823316" indent="0">
              <a:buNone/>
              <a:defRPr sz="2000"/>
            </a:lvl5pPr>
            <a:lvl6pPr marL="2279151" indent="0">
              <a:buNone/>
              <a:defRPr sz="2000"/>
            </a:lvl6pPr>
            <a:lvl7pPr marL="2734982" indent="0">
              <a:buNone/>
              <a:defRPr sz="2000"/>
            </a:lvl7pPr>
            <a:lvl8pPr marL="3190813" indent="0">
              <a:buNone/>
              <a:defRPr sz="2000"/>
            </a:lvl8pPr>
            <a:lvl9pPr marL="3646644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18572489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481938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287866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340410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127723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487634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777036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335431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034933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304033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85305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67.xml"/><Relationship Id="rId7" Type="http://schemas.openxmlformats.org/officeDocument/2006/relationships/tags" Target="../tags/tag41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vmlDrawing" Target="../drawings/vmlDrawing15.vml"/><Relationship Id="rId11" Type="http://schemas.openxmlformats.org/officeDocument/2006/relationships/image" Target="../media/image11.png"/><Relationship Id="rId5" Type="http://schemas.openxmlformats.org/officeDocument/2006/relationships/theme" Target="../theme/theme10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68.xml"/><Relationship Id="rId9" Type="http://schemas.openxmlformats.org/officeDocument/2006/relationships/image" Target="../media/image6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slideLayout" Target="../slideLayouts/slideLayout71.xml"/><Relationship Id="rId7" Type="http://schemas.openxmlformats.org/officeDocument/2006/relationships/tags" Target="../tags/tag43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vmlDrawing" Target="../drawings/vmlDrawing17.vml"/><Relationship Id="rId11" Type="http://schemas.openxmlformats.org/officeDocument/2006/relationships/image" Target="../media/image11.png"/><Relationship Id="rId5" Type="http://schemas.openxmlformats.org/officeDocument/2006/relationships/theme" Target="../theme/theme1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72.xml"/><Relationship Id="rId9" Type="http://schemas.openxmlformats.org/officeDocument/2006/relationships/image" Target="../media/image6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9.v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image" Target="../media/image7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57.xml"/><Relationship Id="rId7" Type="http://schemas.openxmlformats.org/officeDocument/2006/relationships/theme" Target="../theme/theme12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image" Target="../media/image6.emf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47.xml"/><Relationship Id="rId24" Type="http://schemas.openxmlformats.org/officeDocument/2006/relationships/oleObject" Target="../embeddings/oleObject19.bin"/><Relationship Id="rId5" Type="http://schemas.openxmlformats.org/officeDocument/2006/relationships/slideLayout" Target="../slideLayouts/slideLayout77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3" Type="http://schemas.openxmlformats.org/officeDocument/2006/relationships/theme" Target="../theme/theme13.xml"/><Relationship Id="rId21" Type="http://schemas.openxmlformats.org/officeDocument/2006/relationships/image" Target="../media/image6.emf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" Type="http://schemas.openxmlformats.org/officeDocument/2006/relationships/slideLayout" Target="../slideLayouts/slideLayout80.xml"/><Relationship Id="rId16" Type="http://schemas.openxmlformats.org/officeDocument/2006/relationships/tags" Target="../tags/tag83.xml"/><Relationship Id="rId20" Type="http://schemas.openxmlformats.org/officeDocument/2006/relationships/oleObject" Target="../embeddings/oleObject22.bin"/><Relationship Id="rId1" Type="http://schemas.openxmlformats.org/officeDocument/2006/relationships/slideLayout" Target="../slideLayouts/slideLayout79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4" Type="http://schemas.openxmlformats.org/officeDocument/2006/relationships/vmlDrawing" Target="../drawings/vmlDrawing22.v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image" Target="../media/image7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slideLayout" Target="../slideLayouts/slideLayout83.xml"/><Relationship Id="rId7" Type="http://schemas.openxmlformats.org/officeDocument/2006/relationships/tags" Target="../tags/tag99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vmlDrawing" Target="../drawings/vmlDrawing25.vml"/><Relationship Id="rId11" Type="http://schemas.openxmlformats.org/officeDocument/2006/relationships/image" Target="../media/image11.png"/><Relationship Id="rId5" Type="http://schemas.openxmlformats.org/officeDocument/2006/relationships/theme" Target="../theme/theme14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84.xml"/><Relationship Id="rId9" Type="http://schemas.openxmlformats.org/officeDocument/2006/relationships/image" Target="../media/image6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slideLayout" Target="../slideLayouts/slideLayout87.xml"/><Relationship Id="rId7" Type="http://schemas.openxmlformats.org/officeDocument/2006/relationships/tags" Target="../tags/tag114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vmlDrawing" Target="../drawings/vmlDrawing27.vml"/><Relationship Id="rId11" Type="http://schemas.openxmlformats.org/officeDocument/2006/relationships/image" Target="../media/image11.png"/><Relationship Id="rId5" Type="http://schemas.openxmlformats.org/officeDocument/2006/relationships/theme" Target="../theme/theme15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88.xml"/><Relationship Id="rId9" Type="http://schemas.openxmlformats.org/officeDocument/2006/relationships/image" Target="../media/image6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9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image" Target="../media/image1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0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image" Target="../media/image7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tags" Target="../tags/tag136.xml"/><Relationship Id="rId18" Type="http://schemas.openxmlformats.org/officeDocument/2006/relationships/tags" Target="../tags/tag141.xml"/><Relationship Id="rId3" Type="http://schemas.openxmlformats.org/officeDocument/2006/relationships/slideLayout" Target="../slideLayouts/slideLayout114.xml"/><Relationship Id="rId21" Type="http://schemas.openxmlformats.org/officeDocument/2006/relationships/oleObject" Target="../embeddings/oleObject29.bin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17" Type="http://schemas.openxmlformats.org/officeDocument/2006/relationships/tags" Target="../tags/tag140.xml"/><Relationship Id="rId2" Type="http://schemas.openxmlformats.org/officeDocument/2006/relationships/slideLayout" Target="../slideLayouts/slideLayout113.xml"/><Relationship Id="rId16" Type="http://schemas.openxmlformats.org/officeDocument/2006/relationships/tags" Target="../tags/tag139.xml"/><Relationship Id="rId20" Type="http://schemas.openxmlformats.org/officeDocument/2006/relationships/tags" Target="../tags/tag143.xml"/><Relationship Id="rId1" Type="http://schemas.openxmlformats.org/officeDocument/2006/relationships/slideLayout" Target="../slideLayouts/slideLayout112.x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5" Type="http://schemas.openxmlformats.org/officeDocument/2006/relationships/vmlDrawing" Target="../drawings/vmlDrawing29.vml"/><Relationship Id="rId15" Type="http://schemas.openxmlformats.org/officeDocument/2006/relationships/tags" Target="../tags/tag138.xml"/><Relationship Id="rId23" Type="http://schemas.openxmlformats.org/officeDocument/2006/relationships/image" Target="../media/image7.png"/><Relationship Id="rId10" Type="http://schemas.openxmlformats.org/officeDocument/2006/relationships/tags" Target="../tags/tag133.xml"/><Relationship Id="rId19" Type="http://schemas.openxmlformats.org/officeDocument/2006/relationships/tags" Target="../tags/tag142.xml"/><Relationship Id="rId4" Type="http://schemas.openxmlformats.org/officeDocument/2006/relationships/theme" Target="../theme/theme18.xml"/><Relationship Id="rId9" Type="http://schemas.openxmlformats.org/officeDocument/2006/relationships/tags" Target="../tags/tag132.xml"/><Relationship Id="rId14" Type="http://schemas.openxmlformats.org/officeDocument/2006/relationships/tags" Target="../tags/tag137.xml"/><Relationship Id="rId22" Type="http://schemas.openxmlformats.org/officeDocument/2006/relationships/image" Target="../media/image6.e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3" Type="http://schemas.openxmlformats.org/officeDocument/2006/relationships/slideLayout" Target="../slideLayouts/slideLayout117.xml"/><Relationship Id="rId21" Type="http://schemas.openxmlformats.org/officeDocument/2006/relationships/oleObject" Target="../embeddings/oleObject33.bin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2" Type="http://schemas.openxmlformats.org/officeDocument/2006/relationships/slideLayout" Target="../slideLayouts/slideLayout116.xml"/><Relationship Id="rId16" Type="http://schemas.openxmlformats.org/officeDocument/2006/relationships/tags" Target="../tags/tag169.xml"/><Relationship Id="rId20" Type="http://schemas.openxmlformats.org/officeDocument/2006/relationships/tags" Target="../tags/tag173.xml"/><Relationship Id="rId1" Type="http://schemas.openxmlformats.org/officeDocument/2006/relationships/slideLayout" Target="../slideLayouts/slideLayout115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vmlDrawing" Target="../drawings/vmlDrawing33.vml"/><Relationship Id="rId15" Type="http://schemas.openxmlformats.org/officeDocument/2006/relationships/tags" Target="../tags/tag168.xml"/><Relationship Id="rId23" Type="http://schemas.openxmlformats.org/officeDocument/2006/relationships/image" Target="../media/image7.png"/><Relationship Id="rId10" Type="http://schemas.openxmlformats.org/officeDocument/2006/relationships/tags" Target="../tags/tag163.xml"/><Relationship Id="rId19" Type="http://schemas.openxmlformats.org/officeDocument/2006/relationships/tags" Target="../tags/tag172.xml"/><Relationship Id="rId4" Type="http://schemas.openxmlformats.org/officeDocument/2006/relationships/theme" Target="../theme/theme19.xml"/><Relationship Id="rId9" Type="http://schemas.openxmlformats.org/officeDocument/2006/relationships/tags" Target="../tags/tag162.xml"/><Relationship Id="rId14" Type="http://schemas.openxmlformats.org/officeDocument/2006/relationships/tags" Target="../tags/tag167.xml"/><Relationship Id="rId22" Type="http://schemas.openxmlformats.org/officeDocument/2006/relationships/image" Target="../media/image6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tags" Target="../tags/tag196.xml"/><Relationship Id="rId18" Type="http://schemas.openxmlformats.org/officeDocument/2006/relationships/tags" Target="../tags/tag201.xml"/><Relationship Id="rId3" Type="http://schemas.openxmlformats.org/officeDocument/2006/relationships/slideLayout" Target="../slideLayouts/slideLayout120.xml"/><Relationship Id="rId21" Type="http://schemas.openxmlformats.org/officeDocument/2006/relationships/oleObject" Target="../embeddings/oleObject37.bin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17" Type="http://schemas.openxmlformats.org/officeDocument/2006/relationships/tags" Target="../tags/tag200.xml"/><Relationship Id="rId2" Type="http://schemas.openxmlformats.org/officeDocument/2006/relationships/slideLayout" Target="../slideLayouts/slideLayout119.xml"/><Relationship Id="rId16" Type="http://schemas.openxmlformats.org/officeDocument/2006/relationships/tags" Target="../tags/tag199.xml"/><Relationship Id="rId20" Type="http://schemas.openxmlformats.org/officeDocument/2006/relationships/tags" Target="../tags/tag203.xml"/><Relationship Id="rId1" Type="http://schemas.openxmlformats.org/officeDocument/2006/relationships/slideLayout" Target="../slideLayouts/slideLayout118.x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5" Type="http://schemas.openxmlformats.org/officeDocument/2006/relationships/vmlDrawing" Target="../drawings/vmlDrawing37.vml"/><Relationship Id="rId15" Type="http://schemas.openxmlformats.org/officeDocument/2006/relationships/tags" Target="../tags/tag198.xml"/><Relationship Id="rId23" Type="http://schemas.openxmlformats.org/officeDocument/2006/relationships/image" Target="../media/image7.png"/><Relationship Id="rId10" Type="http://schemas.openxmlformats.org/officeDocument/2006/relationships/tags" Target="../tags/tag193.xml"/><Relationship Id="rId19" Type="http://schemas.openxmlformats.org/officeDocument/2006/relationships/tags" Target="../tags/tag202.xml"/><Relationship Id="rId4" Type="http://schemas.openxmlformats.org/officeDocument/2006/relationships/theme" Target="../theme/theme20.xml"/><Relationship Id="rId9" Type="http://schemas.openxmlformats.org/officeDocument/2006/relationships/tags" Target="../tags/tag192.xml"/><Relationship Id="rId14" Type="http://schemas.openxmlformats.org/officeDocument/2006/relationships/tags" Target="../tags/tag197.xml"/><Relationship Id="rId22" Type="http://schemas.openxmlformats.org/officeDocument/2006/relationships/image" Target="../media/image6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tags" Target="../tags/tag226.xml"/><Relationship Id="rId18" Type="http://schemas.openxmlformats.org/officeDocument/2006/relationships/tags" Target="../tags/tag231.xml"/><Relationship Id="rId3" Type="http://schemas.openxmlformats.org/officeDocument/2006/relationships/slideLayout" Target="../slideLayouts/slideLayout123.xml"/><Relationship Id="rId21" Type="http://schemas.openxmlformats.org/officeDocument/2006/relationships/oleObject" Target="../embeddings/oleObject41.bin"/><Relationship Id="rId7" Type="http://schemas.openxmlformats.org/officeDocument/2006/relationships/tags" Target="../tags/tag220.xml"/><Relationship Id="rId12" Type="http://schemas.openxmlformats.org/officeDocument/2006/relationships/tags" Target="../tags/tag225.xml"/><Relationship Id="rId17" Type="http://schemas.openxmlformats.org/officeDocument/2006/relationships/tags" Target="../tags/tag230.xml"/><Relationship Id="rId2" Type="http://schemas.openxmlformats.org/officeDocument/2006/relationships/slideLayout" Target="../slideLayouts/slideLayout122.xml"/><Relationship Id="rId16" Type="http://schemas.openxmlformats.org/officeDocument/2006/relationships/tags" Target="../tags/tag229.xml"/><Relationship Id="rId20" Type="http://schemas.openxmlformats.org/officeDocument/2006/relationships/tags" Target="../tags/tag233.xml"/><Relationship Id="rId1" Type="http://schemas.openxmlformats.org/officeDocument/2006/relationships/slideLayout" Target="../slideLayouts/slideLayout121.xml"/><Relationship Id="rId6" Type="http://schemas.openxmlformats.org/officeDocument/2006/relationships/tags" Target="../tags/tag219.xml"/><Relationship Id="rId11" Type="http://schemas.openxmlformats.org/officeDocument/2006/relationships/tags" Target="../tags/tag224.xml"/><Relationship Id="rId5" Type="http://schemas.openxmlformats.org/officeDocument/2006/relationships/vmlDrawing" Target="../drawings/vmlDrawing41.vml"/><Relationship Id="rId15" Type="http://schemas.openxmlformats.org/officeDocument/2006/relationships/tags" Target="../tags/tag228.xml"/><Relationship Id="rId23" Type="http://schemas.openxmlformats.org/officeDocument/2006/relationships/image" Target="../media/image7.png"/><Relationship Id="rId10" Type="http://schemas.openxmlformats.org/officeDocument/2006/relationships/tags" Target="../tags/tag223.xml"/><Relationship Id="rId19" Type="http://schemas.openxmlformats.org/officeDocument/2006/relationships/tags" Target="../tags/tag232.xml"/><Relationship Id="rId4" Type="http://schemas.openxmlformats.org/officeDocument/2006/relationships/theme" Target="../theme/theme21.xml"/><Relationship Id="rId9" Type="http://schemas.openxmlformats.org/officeDocument/2006/relationships/tags" Target="../tags/tag222.xml"/><Relationship Id="rId14" Type="http://schemas.openxmlformats.org/officeDocument/2006/relationships/tags" Target="../tags/tag227.xml"/><Relationship Id="rId22" Type="http://schemas.openxmlformats.org/officeDocument/2006/relationships/image" Target="../media/image6.emf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3" Type="http://schemas.openxmlformats.org/officeDocument/2006/relationships/slideLayout" Target="../slideLayouts/slideLayout126.xml"/><Relationship Id="rId21" Type="http://schemas.openxmlformats.org/officeDocument/2006/relationships/oleObject" Target="../embeddings/oleObject45.bin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2" Type="http://schemas.openxmlformats.org/officeDocument/2006/relationships/slideLayout" Target="../slideLayouts/slideLayout125.xml"/><Relationship Id="rId16" Type="http://schemas.openxmlformats.org/officeDocument/2006/relationships/tags" Target="../tags/tag259.xml"/><Relationship Id="rId20" Type="http://schemas.openxmlformats.org/officeDocument/2006/relationships/tags" Target="../tags/tag263.xml"/><Relationship Id="rId1" Type="http://schemas.openxmlformats.org/officeDocument/2006/relationships/slideLayout" Target="../slideLayouts/slideLayout124.x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5" Type="http://schemas.openxmlformats.org/officeDocument/2006/relationships/vmlDrawing" Target="../drawings/vmlDrawing45.vml"/><Relationship Id="rId15" Type="http://schemas.openxmlformats.org/officeDocument/2006/relationships/tags" Target="../tags/tag258.xml"/><Relationship Id="rId23" Type="http://schemas.openxmlformats.org/officeDocument/2006/relationships/image" Target="../media/image7.png"/><Relationship Id="rId10" Type="http://schemas.openxmlformats.org/officeDocument/2006/relationships/tags" Target="../tags/tag253.xml"/><Relationship Id="rId19" Type="http://schemas.openxmlformats.org/officeDocument/2006/relationships/tags" Target="../tags/tag262.xml"/><Relationship Id="rId4" Type="http://schemas.openxmlformats.org/officeDocument/2006/relationships/theme" Target="../theme/theme22.xml"/><Relationship Id="rId9" Type="http://schemas.openxmlformats.org/officeDocument/2006/relationships/tags" Target="../tags/tag252.xml"/><Relationship Id="rId14" Type="http://schemas.openxmlformats.org/officeDocument/2006/relationships/tags" Target="../tags/tag257.xml"/><Relationship Id="rId22" Type="http://schemas.openxmlformats.org/officeDocument/2006/relationships/image" Target="../media/image6.emf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13" Type="http://schemas.openxmlformats.org/officeDocument/2006/relationships/tags" Target="../tags/tag283.xml"/><Relationship Id="rId18" Type="http://schemas.openxmlformats.org/officeDocument/2006/relationships/tags" Target="../tags/tag288.xml"/><Relationship Id="rId3" Type="http://schemas.openxmlformats.org/officeDocument/2006/relationships/slideLayout" Target="../slideLayouts/slideLayout129.xml"/><Relationship Id="rId21" Type="http://schemas.openxmlformats.org/officeDocument/2006/relationships/oleObject" Target="../embeddings/oleObject48.bin"/><Relationship Id="rId7" Type="http://schemas.openxmlformats.org/officeDocument/2006/relationships/tags" Target="../tags/tag277.xml"/><Relationship Id="rId12" Type="http://schemas.openxmlformats.org/officeDocument/2006/relationships/tags" Target="../tags/tag282.xml"/><Relationship Id="rId17" Type="http://schemas.openxmlformats.org/officeDocument/2006/relationships/tags" Target="../tags/tag287.xml"/><Relationship Id="rId2" Type="http://schemas.openxmlformats.org/officeDocument/2006/relationships/slideLayout" Target="../slideLayouts/slideLayout128.xml"/><Relationship Id="rId16" Type="http://schemas.openxmlformats.org/officeDocument/2006/relationships/tags" Target="../tags/tag286.xml"/><Relationship Id="rId20" Type="http://schemas.openxmlformats.org/officeDocument/2006/relationships/tags" Target="../tags/tag290.xml"/><Relationship Id="rId1" Type="http://schemas.openxmlformats.org/officeDocument/2006/relationships/slideLayout" Target="../slideLayouts/slideLayout127.xml"/><Relationship Id="rId6" Type="http://schemas.openxmlformats.org/officeDocument/2006/relationships/tags" Target="../tags/tag276.xml"/><Relationship Id="rId11" Type="http://schemas.openxmlformats.org/officeDocument/2006/relationships/tags" Target="../tags/tag281.xml"/><Relationship Id="rId5" Type="http://schemas.openxmlformats.org/officeDocument/2006/relationships/vmlDrawing" Target="../drawings/vmlDrawing48.vml"/><Relationship Id="rId15" Type="http://schemas.openxmlformats.org/officeDocument/2006/relationships/tags" Target="../tags/tag285.xml"/><Relationship Id="rId23" Type="http://schemas.openxmlformats.org/officeDocument/2006/relationships/image" Target="../media/image7.png"/><Relationship Id="rId10" Type="http://schemas.openxmlformats.org/officeDocument/2006/relationships/tags" Target="../tags/tag280.xml"/><Relationship Id="rId19" Type="http://schemas.openxmlformats.org/officeDocument/2006/relationships/tags" Target="../tags/tag289.xml"/><Relationship Id="rId4" Type="http://schemas.openxmlformats.org/officeDocument/2006/relationships/theme" Target="../theme/theme23.xml"/><Relationship Id="rId9" Type="http://schemas.openxmlformats.org/officeDocument/2006/relationships/tags" Target="../tags/tag279.xml"/><Relationship Id="rId14" Type="http://schemas.openxmlformats.org/officeDocument/2006/relationships/tags" Target="../tags/tag284.xml"/><Relationship Id="rId22" Type="http://schemas.openxmlformats.org/officeDocument/2006/relationships/image" Target="../media/image6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2.emf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20.xml"/><Relationship Id="rId16" Type="http://schemas.openxmlformats.org/officeDocument/2006/relationships/theme" Target="../theme/theme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8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7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heme" Target="../theme/theme5.xml"/><Relationship Id="rId21" Type="http://schemas.openxmlformats.org/officeDocument/2006/relationships/image" Target="../media/image6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slideLayout" Target="../slideLayouts/slideLayout46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45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vmlDrawing" Target="../drawings/vmlDrawing4.v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image" Target="../media/image7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slideLayout" Target="../slideLayouts/slideLayout49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50.xml"/><Relationship Id="rId9" Type="http://schemas.openxmlformats.org/officeDocument/2006/relationships/oleObject" Target="../embeddings/oleObject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slideLayout" Target="../slideLayouts/slideLayout54.xml"/><Relationship Id="rId7" Type="http://schemas.openxmlformats.org/officeDocument/2006/relationships/vmlDrawing" Target="../drawings/vmlDrawing9.v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7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56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55.xml"/><Relationship Id="rId9" Type="http://schemas.openxmlformats.org/officeDocument/2006/relationships/oleObject" Target="../embeddings/oleObject9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59.xml"/><Relationship Id="rId7" Type="http://schemas.openxmlformats.org/officeDocument/2006/relationships/tags" Target="../tags/tag37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vmlDrawing" Target="../drawings/vmlDrawing11.vml"/><Relationship Id="rId11" Type="http://schemas.openxmlformats.org/officeDocument/2006/relationships/image" Target="../media/image11.png"/><Relationship Id="rId5" Type="http://schemas.openxmlformats.org/officeDocument/2006/relationships/theme" Target="../theme/theme8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60.xml"/><Relationship Id="rId9" Type="http://schemas.openxmlformats.org/officeDocument/2006/relationships/image" Target="../media/image6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63.xml"/><Relationship Id="rId7" Type="http://schemas.openxmlformats.org/officeDocument/2006/relationships/tags" Target="../tags/tag39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vmlDrawing" Target="../drawings/vmlDrawing13.vml"/><Relationship Id="rId11" Type="http://schemas.openxmlformats.org/officeDocument/2006/relationships/image" Target="../media/image11.png"/><Relationship Id="rId5" Type="http://schemas.openxmlformats.org/officeDocument/2006/relationships/theme" Target="../theme/theme9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50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879" r:id="rId12"/>
    <p:sldLayoutId id="2147483880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582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165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74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331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433" indent="-18043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287" indent="-17726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58562" indent="-2674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0291" indent="-2279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67066" indent="-2279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289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872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3455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038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5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8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316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1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82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813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644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24388" y="1980973"/>
            <a:ext cx="20967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31805" y="419895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7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1456"/>
            <a:r>
              <a:rPr lang="ru-RU" sz="1400" dirty="0" smtClean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19971" indent="-619971" defTabSz="910586">
              <a:tabLst>
                <a:tab pos="623207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8" y="1158143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1456"/>
              <a:r>
                <a:rPr lang="ru-RU" sz="16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1456"/>
              <a:r>
                <a:rPr lang="ru-RU" sz="1600" dirty="0" smtClean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78323" y="42453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5785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0586" rtl="0" eaLnBrk="1" fontAlgn="base" hangingPunct="1">
        <a:spcBef>
          <a:spcPct val="0"/>
        </a:spcBef>
        <a:spcAft>
          <a:spcPct val="0"/>
        </a:spcAft>
        <a:tabLst>
          <a:tab pos="36327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4981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996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495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9942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971" indent="-195362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81" indent="-266398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4827" indent="-158225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4981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996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495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994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492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991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489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9879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24388" y="1980973"/>
            <a:ext cx="20967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31805" y="419895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7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1456"/>
            <a:r>
              <a:rPr lang="ru-RU" sz="1400" dirty="0" smtClean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19971" indent="-619971" defTabSz="910586">
              <a:tabLst>
                <a:tab pos="623207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8" y="1158143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1456"/>
              <a:r>
                <a:rPr lang="ru-RU" sz="16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1456"/>
              <a:r>
                <a:rPr lang="ru-RU" sz="1600" dirty="0" smtClean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78323" y="42453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3889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9" r:id="rId3"/>
    <p:sldLayoutId id="214748383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0586" rtl="0" eaLnBrk="1" fontAlgn="base" hangingPunct="1">
        <a:spcBef>
          <a:spcPct val="0"/>
        </a:spcBef>
        <a:spcAft>
          <a:spcPct val="0"/>
        </a:spcAft>
        <a:tabLst>
          <a:tab pos="36327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4981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996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495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9942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971" indent="-195362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81" indent="-266398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4827" indent="-158225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4981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996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495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994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492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991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489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9879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1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8116536" y="1980971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16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8245579" y="4198951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16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482155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29182" y="301936"/>
            <a:ext cx="79451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9184" y="27554"/>
            <a:ext cx="878217" cy="219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21489" y="94668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21489" y="6267402"/>
            <a:ext cx="8722840" cy="153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1488" y="6578619"/>
            <a:ext cx="7002570" cy="153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0101" indent="-620101" defTabSz="910776">
              <a:tabLst>
                <a:tab pos="623339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82155" y="1158141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Title</a:t>
              </a:r>
            </a:p>
            <a:p>
              <a:r>
                <a:rPr lang="ru-RU" sz="1600" dirty="0" smtClean="0">
                  <a:solidFill>
                    <a:srgbClr val="808080"/>
                  </a:solidFill>
                  <a:latin typeface="Arial" charset="0"/>
                  <a:cs typeface="Arial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 userDrawn="1">
            <p:custDataLst>
              <p:tags r:id="rId19"/>
            </p:custDataLst>
          </p:nvPr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165" tIns="93022" rIns="91165" bIns="93022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>
            <p:custDataLst>
              <p:tags r:id="rId20"/>
            </p:custDataLst>
          </p:nvPr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165" tIns="93022" rIns="91165" bIns="93022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>
            <p:custDataLst>
              <p:tags r:id="rId21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8168856" y="36759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 userDrawn="1">
            <p:custDataLst>
              <p:tags r:id="rId22"/>
            </p:custDataLst>
          </p:nvPr>
        </p:nvCxnSpPr>
        <p:spPr>
          <a:xfrm>
            <a:off x="8262681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 userDrawn="1">
            <p:custDataLst>
              <p:tags r:id="rId23"/>
            </p:custDataLst>
          </p:nvPr>
        </p:nvSpPr>
        <p:spPr>
          <a:xfrm>
            <a:off x="8719627" y="662880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  <a:cs typeface="Arial"/>
              </a:rPr>
              <a:pPr/>
              <a:t>‹#›</a:t>
            </a:fld>
            <a:endParaRPr lang="en-US" sz="100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4290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906" r:id="rId3"/>
    <p:sldLayoutId id="2147483907" r:id="rId4"/>
    <p:sldLayoutId id="2147483908" r:id="rId5"/>
    <p:sldLayoutId id="2147483909" r:id="rId6"/>
  </p:sldLayoutIdLst>
  <p:hf hdr="0" ftr="0" dt="0"/>
  <p:txStyles>
    <p:titleStyle>
      <a:lvl1pPr algn="l" defTabSz="910776" rtl="0" eaLnBrk="1" fontAlgn="base" hangingPunct="1">
        <a:spcBef>
          <a:spcPct val="0"/>
        </a:spcBef>
        <a:spcAft>
          <a:spcPct val="0"/>
        </a:spcAft>
        <a:tabLst>
          <a:tab pos="363349" algn="l"/>
        </a:tabLst>
        <a:defRPr sz="1900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081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0166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5253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0336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013" indent="-195404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5081" indent="-266455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4960" indent="-15825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5081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30166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253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60336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25410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90509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55585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20668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7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16536" y="1980971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16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245579" y="4198951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16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482155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29182" y="301936"/>
            <a:ext cx="79451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9184" y="27554"/>
            <a:ext cx="878217" cy="219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89" y="94668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9" y="6267402"/>
            <a:ext cx="8722840" cy="153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88" y="6578619"/>
            <a:ext cx="7002570" cy="153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0101" indent="-620101" defTabSz="910776">
              <a:tabLst>
                <a:tab pos="623339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82155" y="1158141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Title</a:t>
              </a:r>
            </a:p>
            <a:p>
              <a:r>
                <a:rPr lang="ru-RU" sz="1600" dirty="0" smtClean="0">
                  <a:solidFill>
                    <a:srgbClr val="808080"/>
                  </a:solidFill>
                  <a:latin typeface="Arial" charset="0"/>
                  <a:cs typeface="Arial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 userDrawn="1">
            <p:custDataLst>
              <p:tags r:id="rId15"/>
            </p:custDataLst>
          </p:nvPr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165" tIns="93022" rIns="91165" bIns="93022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165" tIns="93022" rIns="91165" bIns="93022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>
            <p:custDataLst>
              <p:tags r:id="rId17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168856" y="36759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 userDrawn="1">
            <p:custDataLst>
              <p:tags r:id="rId18"/>
            </p:custDataLst>
          </p:nvPr>
        </p:nvCxnSpPr>
        <p:spPr>
          <a:xfrm>
            <a:off x="8262681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8719627" y="662880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  <a:cs typeface="Arial"/>
              </a:rPr>
              <a:pPr/>
              <a:t>‹#›</a:t>
            </a:fld>
            <a:endParaRPr lang="en-US" sz="100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439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</p:sldLayoutIdLst>
  <p:hf hdr="0" ftr="0" dt="0"/>
  <p:txStyles>
    <p:titleStyle>
      <a:lvl1pPr algn="l" defTabSz="910776" rtl="0" eaLnBrk="1" fontAlgn="base" hangingPunct="1">
        <a:spcBef>
          <a:spcPct val="0"/>
        </a:spcBef>
        <a:spcAft>
          <a:spcPct val="0"/>
        </a:spcAft>
        <a:tabLst>
          <a:tab pos="363349" algn="l"/>
        </a:tabLst>
        <a:defRPr sz="1900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081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0166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5253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0336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013" indent="-195404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5081" indent="-266455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4960" indent="-15825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5081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30166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253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60336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25410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90509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55585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20668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6656349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24372" y="1980954"/>
            <a:ext cx="20967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52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31777" y="4198934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520"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520"/>
            <a:r>
              <a:rPr lang="ru-RU" sz="1400" dirty="0" smtClean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375" indent="-621375" defTabSz="912646">
              <a:tabLst>
                <a:tab pos="624614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8126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520"/>
              <a:r>
                <a:rPr lang="ru-RU" sz="16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3520"/>
              <a:r>
                <a:rPr lang="ru-RU" sz="1600" dirty="0" smtClean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08" tIns="93208" rIns="93208" bIns="93208" anchor="ctr"/>
          <a:lstStyle/>
          <a:p>
            <a:pPr defTabSz="913520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08" tIns="93208" rIns="93208" bIns="93208" anchor="ctr"/>
          <a:lstStyle/>
          <a:p>
            <a:pPr defTabSz="913520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78323" y="42453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0845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646" rtl="0" eaLnBrk="1" fontAlgn="base" hangingPunct="1">
        <a:spcBef>
          <a:spcPct val="0"/>
        </a:spcBef>
        <a:spcAft>
          <a:spcPct val="0"/>
        </a:spcAft>
        <a:tabLst>
          <a:tab pos="364089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033" algn="l" defTabSz="91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066" algn="l" defTabSz="91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099" algn="l" defTabSz="91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133" algn="l" defTabSz="91264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417" indent="-195801" algn="l" defTabSz="91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033" indent="-266999" algn="l" defTabSz="91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235" indent="-158581" algn="l" defTabSz="91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294" indent="-132690" algn="l" defTabSz="91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294" indent="-132690" algn="l" defTabSz="91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294" indent="-132690" algn="l" defTabSz="91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294" indent="-132690" algn="l" defTabSz="91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294" indent="-132690" algn="l" defTabSz="91264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33" algn="l" defTabSz="932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066" algn="l" defTabSz="932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099" algn="l" defTabSz="932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133" algn="l" defTabSz="932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166" algn="l" defTabSz="932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204" algn="l" defTabSz="932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234" algn="l" defTabSz="932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8268" algn="l" defTabSz="9320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7389121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2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24365" y="1980947"/>
            <a:ext cx="20967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0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31766" y="419892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0"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337151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90"/>
            <a:r>
              <a:rPr lang="ru-RU" sz="1400" dirty="0" smtClean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00" indent="-621900" defTabSz="913416">
              <a:tabLst>
                <a:tab pos="625139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8119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90"/>
              <a:r>
                <a:rPr lang="ru-RU" sz="16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4290"/>
              <a:r>
                <a:rPr lang="ru-RU" sz="1600" dirty="0" smtClean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85" tIns="93285" rIns="93285" bIns="93285" anchor="ctr"/>
          <a:lstStyle/>
          <a:p>
            <a:pPr defTabSz="914290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85" tIns="93285" rIns="93285" bIns="93285" anchor="ctr"/>
          <a:lstStyle/>
          <a:p>
            <a:pPr defTabSz="914290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78323" y="42453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8546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16" rtl="0" eaLnBrk="1" fontAlgn="base" hangingPunct="1">
        <a:spcBef>
          <a:spcPct val="0"/>
        </a:spcBef>
        <a:spcAft>
          <a:spcPct val="0"/>
        </a:spcAft>
        <a:tabLst>
          <a:tab pos="364396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4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25" algn="l" defTabSz="9134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50" algn="l" defTabSz="9134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75" algn="l" defTabSz="9134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01" algn="l" defTabSz="9134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83" indent="-195964" algn="l" defTabSz="913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25" indent="-267223" algn="l" defTabSz="913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760" indent="-158714" algn="l" defTabSz="913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937" indent="-132802" algn="l" defTabSz="913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937" indent="-132802" algn="l" defTabSz="913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937" indent="-132802" algn="l" defTabSz="913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937" indent="-132802" algn="l" defTabSz="913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937" indent="-132802" algn="l" defTabSz="913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25" algn="l" defTabSz="932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50" algn="l" defTabSz="932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75" algn="l" defTabSz="932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01" algn="l" defTabSz="932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26" algn="l" defTabSz="932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51" algn="l" defTabSz="932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976" algn="l" defTabSz="932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01" algn="l" defTabSz="9328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2551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6926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09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084029" y="1979057"/>
            <a:ext cx="1977396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17329" y="4197037"/>
            <a:ext cx="1710799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29182" y="301936"/>
            <a:ext cx="79451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9183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28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8" y="946660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89" y="6261112"/>
            <a:ext cx="872284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1488" y="6578595"/>
            <a:ext cx="700257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ИСТОЧНИК: источник</a:t>
            </a:r>
            <a:endParaRPr lang="ru-RU" sz="102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32" b="1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Title</a:t>
              </a:r>
            </a:p>
            <a:p>
              <a:r>
                <a:rPr lang="ru-RU" sz="1632" dirty="0" smtClean="0">
                  <a:solidFill>
                    <a:srgbClr val="808080"/>
                  </a:solidFill>
                  <a:latin typeface="Arial" charset="0"/>
                  <a:cs typeface="Arial"/>
                </a:rPr>
                <a:t>Unit of measure</a:t>
              </a:r>
              <a:endParaRPr lang="ru-RU" sz="1632" dirty="0">
                <a:solidFill>
                  <a:srgbClr val="808080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>
            <p:custDataLst>
              <p:tags r:id="rId17"/>
            </p:custDataLst>
          </p:nvPr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168856" y="36759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 userDrawn="1">
            <p:custDataLst>
              <p:tags r:id="rId19"/>
            </p:custDataLst>
          </p:nvPr>
        </p:nvCxnSpPr>
        <p:spPr>
          <a:xfrm>
            <a:off x="8262681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8719602" y="662880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  <a:cs typeface="Arial"/>
              </a:rPr>
              <a:pPr/>
              <a:t>‹#›</a:t>
            </a:fld>
            <a:endParaRPr lang="en-US" sz="102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421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5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084029" y="1979057"/>
            <a:ext cx="1977396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17329" y="4197037"/>
            <a:ext cx="1710799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29182" y="301936"/>
            <a:ext cx="79451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9183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28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8" y="946660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89" y="6261112"/>
            <a:ext cx="872284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1488" y="6578595"/>
            <a:ext cx="700257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ИСТОЧНИК: источник</a:t>
            </a:r>
            <a:endParaRPr lang="ru-RU" sz="102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32" b="1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Title</a:t>
              </a:r>
            </a:p>
            <a:p>
              <a:r>
                <a:rPr lang="ru-RU" sz="1632" dirty="0" smtClean="0">
                  <a:solidFill>
                    <a:srgbClr val="808080"/>
                  </a:solidFill>
                  <a:latin typeface="Arial" charset="0"/>
                  <a:cs typeface="Arial"/>
                </a:rPr>
                <a:t>Unit of measure</a:t>
              </a:r>
              <a:endParaRPr lang="ru-RU" sz="1632" dirty="0">
                <a:solidFill>
                  <a:srgbClr val="808080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>
            <p:custDataLst>
              <p:tags r:id="rId17"/>
            </p:custDataLst>
          </p:nvPr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168856" y="36759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 userDrawn="1">
            <p:custDataLst>
              <p:tags r:id="rId19"/>
            </p:custDataLst>
          </p:nvPr>
        </p:nvCxnSpPr>
        <p:spPr>
          <a:xfrm>
            <a:off x="8262681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8719602" y="662880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  <a:cs typeface="Arial"/>
              </a:rPr>
              <a:pPr/>
              <a:t>‹#›</a:t>
            </a:fld>
            <a:endParaRPr lang="en-US" sz="102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2125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6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16536" y="1980971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sz="16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8" y="4198951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sz="16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2" y="301936"/>
            <a:ext cx="79451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4" y="27554"/>
            <a:ext cx="878217" cy="219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94668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7402"/>
            <a:ext cx="8722840" cy="153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619"/>
            <a:ext cx="7002570" cy="153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0101" indent="-620101" defTabSz="910776">
              <a:tabLst>
                <a:tab pos="623339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8141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+mn-cs"/>
                </a:rPr>
                <a:t>Title</a:t>
              </a:r>
            </a:p>
            <a:p>
              <a:r>
                <a:rPr lang="ru-RU" sz="1600" dirty="0" smtClean="0">
                  <a:solidFill>
                    <a:srgbClr val="808080"/>
                  </a:solidFill>
                  <a:latin typeface="Arial" charset="0"/>
                  <a:cs typeface="+mn-cs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 userDrawn="1"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165" tIns="93022" rIns="91165" bIns="93022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165" tIns="93022" rIns="91165" bIns="93022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78323" y="42453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9201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3" r:id="rId5"/>
  </p:sldLayoutIdLst>
  <p:hf hdr="0" ftr="0" dt="0"/>
  <p:txStyles>
    <p:titleStyle>
      <a:lvl1pPr algn="l" defTabSz="910776" rtl="0" eaLnBrk="1" fontAlgn="base" hangingPunct="1">
        <a:spcBef>
          <a:spcPct val="0"/>
        </a:spcBef>
        <a:spcAft>
          <a:spcPct val="0"/>
        </a:spcAft>
        <a:tabLst>
          <a:tab pos="363349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081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0166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5253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0336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013" indent="-195404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081" indent="-266455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4960" indent="-15825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5081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30166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253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60336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25410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90509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55585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20668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01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084029" y="1979057"/>
            <a:ext cx="1977396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17329" y="4197037"/>
            <a:ext cx="1710799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29182" y="301936"/>
            <a:ext cx="79451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9183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28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8" y="946660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89" y="6261112"/>
            <a:ext cx="872284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1488" y="6578595"/>
            <a:ext cx="700257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ИСТОЧНИК: источник</a:t>
            </a:r>
            <a:endParaRPr lang="ru-RU" sz="102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32" b="1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Title</a:t>
              </a:r>
            </a:p>
            <a:p>
              <a:r>
                <a:rPr lang="ru-RU" sz="1632" dirty="0" smtClean="0">
                  <a:solidFill>
                    <a:srgbClr val="808080"/>
                  </a:solidFill>
                  <a:latin typeface="Arial" charset="0"/>
                  <a:cs typeface="Arial"/>
                </a:rPr>
                <a:t>Unit of measure</a:t>
              </a:r>
              <a:endParaRPr lang="ru-RU" sz="1632" dirty="0">
                <a:solidFill>
                  <a:srgbClr val="808080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>
            <p:custDataLst>
              <p:tags r:id="rId17"/>
            </p:custDataLst>
          </p:nvPr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168856" y="36759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 userDrawn="1">
            <p:custDataLst>
              <p:tags r:id="rId19"/>
            </p:custDataLst>
          </p:nvPr>
        </p:nvCxnSpPr>
        <p:spPr>
          <a:xfrm>
            <a:off x="8262681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8719602" y="662880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  <a:cs typeface="Arial"/>
              </a:rPr>
              <a:pPr/>
              <a:t>‹#›</a:t>
            </a:fld>
            <a:endParaRPr lang="en-US" sz="102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4983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7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084029" y="1979057"/>
            <a:ext cx="1977396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17329" y="4197037"/>
            <a:ext cx="1710799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29182" y="301936"/>
            <a:ext cx="79451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9183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28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8" y="946660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89" y="6261112"/>
            <a:ext cx="872284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1488" y="6578595"/>
            <a:ext cx="700257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ИСТОЧНИК: источник</a:t>
            </a:r>
            <a:endParaRPr lang="ru-RU" sz="102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32" b="1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Title</a:t>
              </a:r>
            </a:p>
            <a:p>
              <a:r>
                <a:rPr lang="ru-RU" sz="1632" dirty="0" smtClean="0">
                  <a:solidFill>
                    <a:srgbClr val="808080"/>
                  </a:solidFill>
                  <a:latin typeface="Arial" charset="0"/>
                  <a:cs typeface="Arial"/>
                </a:rPr>
                <a:t>Unit of measure</a:t>
              </a:r>
              <a:endParaRPr lang="ru-RU" sz="1632" dirty="0">
                <a:solidFill>
                  <a:srgbClr val="808080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>
            <p:custDataLst>
              <p:tags r:id="rId17"/>
            </p:custDataLst>
          </p:nvPr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168856" y="36759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 userDrawn="1">
            <p:custDataLst>
              <p:tags r:id="rId19"/>
            </p:custDataLst>
          </p:nvPr>
        </p:nvCxnSpPr>
        <p:spPr>
          <a:xfrm>
            <a:off x="8262681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8719602" y="662880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  <a:cs typeface="Arial"/>
              </a:rPr>
              <a:pPr/>
              <a:t>‹#›</a:t>
            </a:fld>
            <a:endParaRPr lang="en-US" sz="102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0731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31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084029" y="1979057"/>
            <a:ext cx="1977396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17329" y="4197037"/>
            <a:ext cx="1710799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29182" y="301936"/>
            <a:ext cx="79451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9183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28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8" y="946660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89" y="6261112"/>
            <a:ext cx="872284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1488" y="6578595"/>
            <a:ext cx="700257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ИСТОЧНИК: источник</a:t>
            </a:r>
            <a:endParaRPr lang="ru-RU" sz="102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32" b="1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Title</a:t>
              </a:r>
            </a:p>
            <a:p>
              <a:r>
                <a:rPr lang="ru-RU" sz="1632" dirty="0" smtClean="0">
                  <a:solidFill>
                    <a:srgbClr val="808080"/>
                  </a:solidFill>
                  <a:latin typeface="Arial" charset="0"/>
                  <a:cs typeface="Arial"/>
                </a:rPr>
                <a:t>Unit of measure</a:t>
              </a:r>
              <a:endParaRPr lang="ru-RU" sz="1632" dirty="0">
                <a:solidFill>
                  <a:srgbClr val="808080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>
            <p:custDataLst>
              <p:tags r:id="rId17"/>
            </p:custDataLst>
          </p:nvPr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168856" y="36759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 userDrawn="1">
            <p:custDataLst>
              <p:tags r:id="rId19"/>
            </p:custDataLst>
          </p:nvPr>
        </p:nvCxnSpPr>
        <p:spPr>
          <a:xfrm>
            <a:off x="8262681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8719602" y="662880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  <a:cs typeface="Arial"/>
              </a:rPr>
              <a:pPr/>
              <a:t>‹#›</a:t>
            </a:fld>
            <a:endParaRPr lang="en-US" sz="102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0973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1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54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084029" y="1979057"/>
            <a:ext cx="1977396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17329" y="4197037"/>
            <a:ext cx="1710799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1632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29182" y="301936"/>
            <a:ext cx="79451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9183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28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8" y="946660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89" y="6261112"/>
            <a:ext cx="872284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1488" y="6578595"/>
            <a:ext cx="700257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Arial"/>
              </a:rPr>
              <a:t>ИСТОЧНИК: источник</a:t>
            </a:r>
            <a:endParaRPr lang="ru-RU" sz="102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32" b="1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Title</a:t>
              </a:r>
            </a:p>
            <a:p>
              <a:r>
                <a:rPr lang="ru-RU" sz="1632" dirty="0" smtClean="0">
                  <a:solidFill>
                    <a:srgbClr val="808080"/>
                  </a:solidFill>
                  <a:latin typeface="Arial" charset="0"/>
                  <a:cs typeface="Arial"/>
                </a:rPr>
                <a:t>Unit of measure</a:t>
              </a:r>
              <a:endParaRPr lang="ru-RU" sz="1632" dirty="0">
                <a:solidFill>
                  <a:srgbClr val="808080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>
            <p:custDataLst>
              <p:tags r:id="rId17"/>
            </p:custDataLst>
          </p:nvPr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168856" y="36759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 userDrawn="1">
            <p:custDataLst>
              <p:tags r:id="rId19"/>
            </p:custDataLst>
          </p:nvPr>
        </p:nvCxnSpPr>
        <p:spPr>
          <a:xfrm>
            <a:off x="8262681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 userDrawn="1">
            <p:custDataLst>
              <p:tags r:id="rId20"/>
            </p:custDataLst>
          </p:nvPr>
        </p:nvSpPr>
        <p:spPr>
          <a:xfrm>
            <a:off x="8719602" y="662880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  <a:cs typeface="Arial"/>
              </a:rPr>
              <a:pPr/>
              <a:t>‹#›</a:t>
            </a:fld>
            <a:endParaRPr lang="en-US" sz="102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99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9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630" y="1646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9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0" y="1646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40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5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"/>
          <p:cNvSpPr txBox="1">
            <a:spLocks/>
          </p:cNvSpPr>
          <p:nvPr userDrawn="1"/>
        </p:nvSpPr>
        <p:spPr>
          <a:xfrm>
            <a:off x="8719627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414142"/>
                </a:solidFill>
                <a:cs typeface="Arial"/>
              </a:rPr>
              <a:pPr/>
              <a:t>‹#›</a:t>
            </a:fld>
            <a:endParaRPr lang="en-US" sz="1000" dirty="0">
              <a:solidFill>
                <a:srgbClr val="41414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7536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hlink"/>
          </a:solidFill>
          <a:latin typeface="Arial" charset="0"/>
          <a:cs typeface="Arial" charset="0"/>
        </a:defRPr>
      </a:lvl5pPr>
      <a:lvl6pPr marL="455777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hlink"/>
          </a:solidFill>
          <a:latin typeface="Arial" charset="0"/>
          <a:cs typeface="Arial" charset="0"/>
        </a:defRPr>
      </a:lvl6pPr>
      <a:lvl7pPr marL="911553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hlink"/>
          </a:solidFill>
          <a:latin typeface="Arial" charset="0"/>
          <a:cs typeface="Arial" charset="0"/>
        </a:defRPr>
      </a:lvl7pPr>
      <a:lvl8pPr marL="1367337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hlink"/>
          </a:solidFill>
          <a:latin typeface="Arial" charset="0"/>
          <a:cs typeface="Arial" charset="0"/>
        </a:defRPr>
      </a:lvl8pPr>
      <a:lvl9pPr marL="1823122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414" indent="-180414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23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249" indent="-177249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4"/>
        </a:buBlip>
        <a:defRPr sz="1400">
          <a:solidFill>
            <a:schemeClr val="tx1"/>
          </a:solidFill>
          <a:latin typeface="+mn-lt"/>
          <a:cs typeface="+mn-cs"/>
        </a:defRPr>
      </a:lvl2pPr>
      <a:lvl3pPr marL="1158443" indent="-267459" algn="l" rtl="0" eaLnBrk="1" fontAlgn="base" hangingPunct="1">
        <a:spcBef>
          <a:spcPct val="0"/>
        </a:spcBef>
        <a:spcAft>
          <a:spcPct val="30000"/>
        </a:spcAft>
        <a:buBlip>
          <a:blip r:embed="rId24"/>
        </a:buBlip>
        <a:defRPr sz="2200">
          <a:solidFill>
            <a:schemeClr val="tx1"/>
          </a:solidFill>
          <a:latin typeface="+mn-lt"/>
          <a:cs typeface="+mn-cs"/>
        </a:defRPr>
      </a:lvl3pPr>
      <a:lvl4pPr marL="1660111" indent="-227888" algn="l" rtl="0" eaLnBrk="1" fontAlgn="base" hangingPunct="1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  <a:cs typeface="+mn-cs"/>
        </a:defRPr>
      </a:lvl4pPr>
      <a:lvl5pPr marL="2066848" indent="-227888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  <a:cs typeface="+mn-cs"/>
        </a:defRPr>
      </a:lvl5pPr>
      <a:lvl6pPr marL="2522628" indent="-227888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  <a:cs typeface="+mn-cs"/>
        </a:defRPr>
      </a:lvl6pPr>
      <a:lvl7pPr marL="2978410" indent="-227888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  <a:cs typeface="+mn-cs"/>
        </a:defRPr>
      </a:lvl7pPr>
      <a:lvl8pPr marL="3434194" indent="-227888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  <a:cs typeface="+mn-cs"/>
        </a:defRPr>
      </a:lvl8pPr>
      <a:lvl9pPr marL="3889974" indent="-227888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15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5777" algn="l" defTabSz="9115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53" algn="l" defTabSz="9115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337" algn="l" defTabSz="9115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122" algn="l" defTabSz="9115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912" algn="l" defTabSz="9115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693" algn="l" defTabSz="9115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475" algn="l" defTabSz="9115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257" algn="l" defTabSz="9115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51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>
                <a:solidFill>
                  <a:srgbClr val="003274"/>
                </a:solidFill>
                <a:cs typeface="Arial"/>
              </a:rPr>
              <a:pPr/>
              <a:t>‹#›</a:t>
            </a:fld>
            <a:endParaRPr lang="ru-RU" altLang="ru-RU">
              <a:solidFill>
                <a:srgbClr val="003274"/>
              </a:solidFill>
              <a:cs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40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5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4183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577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155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733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312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414" indent="-180414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249" indent="-17724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58443" indent="-267459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0111" indent="-227888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66848" indent="-227888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2628" indent="-22788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8410" indent="-22788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34194" indent="-22788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9974" indent="-22788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15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777" algn="l" defTabSz="9115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53" algn="l" defTabSz="9115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337" algn="l" defTabSz="9115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122" algn="l" defTabSz="9115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912" algn="l" defTabSz="9115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693" algn="l" defTabSz="9115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475" algn="l" defTabSz="9115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257" algn="l" defTabSz="9115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5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16536" y="1980971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Last Modified 11.12.2013 16:15 Russian Standard Time</a:t>
            </a:r>
            <a:endParaRPr lang="ru-RU" sz="16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245579" y="4198951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Printed 10.12.2013 1:07 Russian Standard Time</a:t>
            </a:r>
            <a:endParaRPr lang="ru-RU" sz="16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482155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29182" y="301936"/>
            <a:ext cx="79451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9184" y="27554"/>
            <a:ext cx="878217" cy="219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89" y="94668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9" y="6267402"/>
            <a:ext cx="8722840" cy="153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88" y="6578619"/>
            <a:ext cx="7002570" cy="153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0101" indent="-620101" defTabSz="910776">
              <a:tabLst>
                <a:tab pos="623339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82155" y="1158141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 smtClean="0">
                  <a:solidFill>
                    <a:srgbClr val="000000"/>
                  </a:solidFill>
                  <a:latin typeface="Arial" charset="0"/>
                  <a:cs typeface="Arial"/>
                </a:rPr>
                <a:t>Title</a:t>
              </a:r>
            </a:p>
            <a:p>
              <a:r>
                <a:rPr lang="ru-RU" sz="1600" dirty="0" smtClean="0">
                  <a:solidFill>
                    <a:srgbClr val="808080"/>
                  </a:solidFill>
                  <a:latin typeface="Arial" charset="0"/>
                  <a:cs typeface="Arial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 userDrawn="1">
            <p:custDataLst>
              <p:tags r:id="rId15"/>
            </p:custDataLst>
          </p:nvPr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165" tIns="93022" rIns="91165" bIns="93022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165" tIns="93022" rIns="91165" bIns="93022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>
            <p:custDataLst>
              <p:tags r:id="rId17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168856" y="36759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 userDrawn="1">
            <p:custDataLst>
              <p:tags r:id="rId18"/>
            </p:custDataLst>
          </p:nvPr>
        </p:nvCxnSpPr>
        <p:spPr>
          <a:xfrm>
            <a:off x="8262681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8719627" y="662880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  <a:cs typeface="Arial"/>
              </a:rPr>
              <a:pPr/>
              <a:t>‹#›</a:t>
            </a:fld>
            <a:endParaRPr lang="en-US" sz="100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0599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</p:sldLayoutIdLst>
  <p:hf hdr="0" ftr="0" dt="0"/>
  <p:txStyles>
    <p:titleStyle>
      <a:lvl1pPr algn="l" defTabSz="910776" rtl="0" eaLnBrk="1" fontAlgn="base" hangingPunct="1">
        <a:spcBef>
          <a:spcPct val="0"/>
        </a:spcBef>
        <a:spcAft>
          <a:spcPct val="0"/>
        </a:spcAft>
        <a:tabLst>
          <a:tab pos="363349" algn="l"/>
        </a:tabLst>
        <a:defRPr sz="1900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081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0166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5253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0336" algn="l" defTabSz="91077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7013" indent="-195404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5081" indent="-266455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4960" indent="-15825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2736" indent="-132418" algn="l" defTabSz="9107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5081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30166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253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60336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25410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90509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55585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20668" algn="l" defTabSz="93016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24388" y="1980973"/>
            <a:ext cx="20967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31805" y="419895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7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1456"/>
            <a:r>
              <a:rPr lang="ru-RU" sz="1400" dirty="0" smtClean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19971" indent="-619971" defTabSz="910586">
              <a:tabLst>
                <a:tab pos="623207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8" y="1158143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1456"/>
              <a:r>
                <a:rPr lang="ru-RU" sz="16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1456"/>
              <a:r>
                <a:rPr lang="ru-RU" sz="1600" dirty="0" smtClean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78323" y="42453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2823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0586" rtl="0" eaLnBrk="1" fontAlgn="base" hangingPunct="1">
        <a:spcBef>
          <a:spcPct val="0"/>
        </a:spcBef>
        <a:spcAft>
          <a:spcPct val="0"/>
        </a:spcAft>
        <a:tabLst>
          <a:tab pos="36327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4981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996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495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9942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971" indent="-195362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81" indent="-266398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4827" indent="-158225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4981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996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495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994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492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991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489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9879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24388" y="1980973"/>
            <a:ext cx="20967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31805" y="419895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7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1456"/>
            <a:r>
              <a:rPr lang="ru-RU" sz="1400" dirty="0" smtClean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19971" indent="-619971" defTabSz="910586">
              <a:tabLst>
                <a:tab pos="623207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8" y="1158143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1456"/>
              <a:r>
                <a:rPr lang="ru-RU" sz="16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1456"/>
              <a:r>
                <a:rPr lang="ru-RU" sz="1600" dirty="0" smtClean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78323" y="42453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5624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0586" rtl="0" eaLnBrk="1" fontAlgn="base" hangingPunct="1">
        <a:spcBef>
          <a:spcPct val="0"/>
        </a:spcBef>
        <a:spcAft>
          <a:spcPct val="0"/>
        </a:spcAft>
        <a:tabLst>
          <a:tab pos="36327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4981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996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495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9942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971" indent="-195362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81" indent="-266398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4827" indent="-158225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4981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996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495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994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492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991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489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9879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24388" y="1980973"/>
            <a:ext cx="20967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31805" y="419895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7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1456"/>
            <a:r>
              <a:rPr lang="ru-RU" sz="1400" dirty="0" smtClean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19971" indent="-619971" defTabSz="910586">
              <a:tabLst>
                <a:tab pos="623207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8" y="1158143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1456"/>
              <a:r>
                <a:rPr lang="ru-RU" sz="16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1456"/>
              <a:r>
                <a:rPr lang="ru-RU" sz="1600" dirty="0" smtClean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78323" y="42453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4789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0586" rtl="0" eaLnBrk="1" fontAlgn="base" hangingPunct="1">
        <a:spcBef>
          <a:spcPct val="0"/>
        </a:spcBef>
        <a:spcAft>
          <a:spcPct val="0"/>
        </a:spcAft>
        <a:tabLst>
          <a:tab pos="36327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4981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996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495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9942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971" indent="-195362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81" indent="-266398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4827" indent="-158225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4981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996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495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994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492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991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489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9879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24388" y="1980973"/>
            <a:ext cx="20967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+mn-cs"/>
              </a:rPr>
              <a:t>Last Modified 12.9.2014 2:19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31805" y="419895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456"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7" y="1990668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337152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1456"/>
            <a:r>
              <a:rPr lang="ru-RU" sz="1400" dirty="0" smtClean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19971" indent="-619971" defTabSz="910586">
              <a:tabLst>
                <a:tab pos="623207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8" y="1158143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1456"/>
              <a:r>
                <a:rPr lang="ru-RU" sz="16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1456"/>
              <a:r>
                <a:rPr lang="ru-RU" sz="1600" dirty="0" smtClean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001" tIns="93001" rIns="93001" bIns="93001" anchor="ctr"/>
          <a:lstStyle/>
          <a:p>
            <a:pPr defTabSz="91145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78323" y="42453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0682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0586" rtl="0" eaLnBrk="1" fontAlgn="base" hangingPunct="1">
        <a:spcBef>
          <a:spcPct val="0"/>
        </a:spcBef>
        <a:spcAft>
          <a:spcPct val="0"/>
        </a:spcAft>
        <a:tabLst>
          <a:tab pos="36327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4981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996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4958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9942" algn="l" defTabSz="91058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971" indent="-195362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4981" indent="-266398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4827" indent="-158225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2574" indent="-132390" algn="l" defTabSz="9105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4981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996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4958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994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4922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991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4894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9879" algn="l" defTabSz="9299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7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7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7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6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76.xml"/><Relationship Id="rId4" Type="http://schemas.openxmlformats.org/officeDocument/2006/relationships/image" Target="../media/image5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7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7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7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7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76.xml"/><Relationship Id="rId4" Type="http://schemas.openxmlformats.org/officeDocument/2006/relationships/image" Target="../media/image6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6.xml"/><Relationship Id="rId5" Type="http://schemas.openxmlformats.org/officeDocument/2006/relationships/image" Target="../media/image24.jpeg"/><Relationship Id="rId4" Type="http://schemas.openxmlformats.org/officeDocument/2006/relationships/image" Target="../media/image23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7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7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7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7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7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7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7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7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7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7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7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4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88.jpeg"/><Relationship Id="rId5" Type="http://schemas.openxmlformats.org/officeDocument/2006/relationships/image" Target="../media/image87.jpeg"/><Relationship Id="rId4" Type="http://schemas.openxmlformats.org/officeDocument/2006/relationships/image" Target="../media/image86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92.jpeg"/><Relationship Id="rId4" Type="http://schemas.openxmlformats.org/officeDocument/2006/relationships/image" Target="../media/image91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97.jpeg"/><Relationship Id="rId5" Type="http://schemas.openxmlformats.org/officeDocument/2006/relationships/image" Target="../media/image96.jpeg"/><Relationship Id="rId4" Type="http://schemas.openxmlformats.org/officeDocument/2006/relationships/image" Target="../media/image95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7" Type="http://schemas.openxmlformats.org/officeDocument/2006/relationships/image" Target="../media/image10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1.jpe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06.jpeg"/><Relationship Id="rId4" Type="http://schemas.openxmlformats.org/officeDocument/2006/relationships/image" Target="../media/image105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7" Type="http://schemas.openxmlformats.org/officeDocument/2006/relationships/image" Target="../media/image1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10.jpeg"/><Relationship Id="rId5" Type="http://schemas.openxmlformats.org/officeDocument/2006/relationships/image" Target="../media/image109.jpeg"/><Relationship Id="rId4" Type="http://schemas.openxmlformats.org/officeDocument/2006/relationships/image" Target="../media/image108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eg"/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15.jpeg"/><Relationship Id="rId4" Type="http://schemas.openxmlformats.org/officeDocument/2006/relationships/image" Target="../media/image114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image" Target="../media/image116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19.jpeg"/><Relationship Id="rId4" Type="http://schemas.openxmlformats.org/officeDocument/2006/relationships/image" Target="../media/image1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image" Target="../media/image120.jpe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2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76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76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6.xml"/><Relationship Id="rId5" Type="http://schemas.openxmlformats.org/officeDocument/2006/relationships/image" Target="../media/image40.jpeg"/><Relationship Id="rId4" Type="http://schemas.openxmlformats.org/officeDocument/2006/relationships/image" Target="../media/image39.jp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3500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1043608" y="404664"/>
            <a:ext cx="7488832" cy="1224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30000"/>
              </a:lnSpc>
            </a:pPr>
            <a:r>
              <a:rPr lang="ru-RU" altLang="ru-RU" sz="40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лучших поликлиник</a:t>
            </a:r>
            <a:endParaRPr lang="ru-RU" altLang="ru-RU" sz="40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5485" y="2276872"/>
            <a:ext cx="5309013" cy="3537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1109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b="0" dirty="0"/>
              <a:t>Отделение специализированной медицинской помощи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10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690" name="Picture 2" descr="http://medudp.ru/images/departments/previews/%D0%A5%D0%BE%D0%BB%D0%BB%20%D1%81%D0%BF%D0%B5%D1%86%D0%B8%D0%B0%D0%BB%D0%B8%D1%86%D0%B8%D1%80%D0%BE%D0%B2%D0%B0%D0%BD%D0%BD%D0%BE%D0%B3%D0%BE%20%D0%BE%D1%82%D0%B4%D0%B5%D0%BB%D0%B5%D0%BD%D0%B8%D1%8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981890"/>
            <a:ext cx="8064896" cy="5362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3819221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b="0" dirty="0"/>
              <a:t>Акушерско-гинекологическое отделен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11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714" name="Picture 2" descr="http://medudp.ru/images/departments/previews/%D0%A5%D0%BE%D0%BB%D0%BB%20%D0%B0%D0%BA%D1%83%D1%88%D0%B5%D1%80%D1%81%D0%BA%D0%BE-%D0%B3%D0%B8%D0%BD%D0%B5%D0%BA%D0%BE%D0%BB%D0%BE%D0%B3%D0%B8%D1%87%D0%B5%D1%81%D0%BA%D0%BE%D0%B3%D0%BE%20%D0%BE%D1%82%D0%B4%D0%B5%D0%BB%D0%B5%D0%BD%D0%B8%D1%8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768" y="836712"/>
            <a:ext cx="8622704" cy="5139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8205523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b="0" dirty="0"/>
              <a:t>Отделение медицинской реабилитации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12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6740" name="Picture 4" descr="http://medudp.ru/images/departments/previews/%D0%A5%D0%BE%D0%BB%D0%BB%20%D1%84%D0%B8%D0%B7%D0%B8%D0%BE%D1%82%D0%B5%D1%80%D0%B0%D0%BF%D0%B5%D0%B2%D1%82%D0%B8%D1%87%D0%B5%D1%81%D0%BA%D0%BE%D0%B3%D0%BE%20%D0%BE%D1%82%D0%B4%D0%B5%D0%BB%D0%B5%D0%BD%D0%B8%D1%8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864931"/>
            <a:ext cx="8008243" cy="5325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1782766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b="0" dirty="0"/>
              <a:t>Отделение медицинской </a:t>
            </a:r>
            <a:r>
              <a:rPr lang="ru-RU" sz="2400" b="0" dirty="0" smtClean="0"/>
              <a:t>профилактики</a:t>
            </a:r>
            <a:endParaRPr lang="ru-RU" sz="24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13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Объект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55976" y="3400983"/>
            <a:ext cx="3499022" cy="2403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3400983"/>
            <a:ext cx="3499022" cy="240383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836712"/>
            <a:ext cx="3499022" cy="246612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836712"/>
            <a:ext cx="3499022" cy="246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57413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/>
              <a:t>Процедурный кабинет</a:t>
            </a:r>
            <a:endParaRPr lang="ru-RU" sz="24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14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http://orenklassika.ru/userfiles/editor/large/49_img_661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843239"/>
            <a:ext cx="4104456" cy="2736304"/>
          </a:xfrm>
          <a:prstGeom prst="rect">
            <a:avLst/>
          </a:prstGeom>
          <a:noFill/>
        </p:spPr>
      </p:pic>
      <p:pic>
        <p:nvPicPr>
          <p:cNvPr id="12" name="Picture 10" descr="http://mczdravica.ru/prozedurn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48100" y="879243"/>
            <a:ext cx="3976561" cy="2664296"/>
          </a:xfrm>
          <a:prstGeom prst="rect">
            <a:avLst/>
          </a:prstGeom>
          <a:noFill/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9832" y="3742452"/>
            <a:ext cx="3864628" cy="2440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100604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Кабинет врача</a:t>
            </a:r>
            <a:endParaRPr lang="ru-RU" sz="24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15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537950" y="1553010"/>
            <a:ext cx="5163629" cy="387272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8309" y="907556"/>
            <a:ext cx="4898095" cy="3673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197594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Входная группа детской поликлиники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16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58040"/>
            <a:ext cx="4881191" cy="325412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991" y="3147170"/>
            <a:ext cx="4498781" cy="2999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318986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Входная группа детской поликлиники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17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9246" y="2604906"/>
            <a:ext cx="5004048" cy="375303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17007"/>
            <a:ext cx="4788024" cy="3192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308567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Колясочная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18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4530" y="1370165"/>
            <a:ext cx="7164288" cy="477619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305" y="981890"/>
            <a:ext cx="4788024" cy="3192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675203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Регистратура детской поликлиники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19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7849" y="3462759"/>
            <a:ext cx="4366984" cy="28999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100" y="836712"/>
            <a:ext cx="4441212" cy="29492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301" y="3462759"/>
            <a:ext cx="4386820" cy="29245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9910188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Регистратура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2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762" name="Picture 2" descr="Картинки по запросу регистратура в поликлинику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875377"/>
            <a:ext cx="4528930" cy="3023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009110"/>
            <a:ext cx="3583056" cy="238870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875377"/>
            <a:ext cx="3485081" cy="304017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960" y="4009110"/>
            <a:ext cx="3888432" cy="2551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749747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Регистратура детской поликлиники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20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628" y="3661001"/>
            <a:ext cx="3842436" cy="270254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25" y="836712"/>
            <a:ext cx="5184575" cy="345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099085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Регистратура детской поликлиники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21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857576"/>
            <a:ext cx="7217459" cy="5413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98895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b="0" dirty="0" smtClean="0"/>
              <a:t>Педиатрическое </a:t>
            </a:r>
            <a:r>
              <a:rPr lang="ru-RU" sz="2400" b="0" dirty="0"/>
              <a:t>отделен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22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7632848" cy="5076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824157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Кабинет врача</a:t>
            </a:r>
            <a:endParaRPr lang="ru-RU" sz="24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23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896" y="2804930"/>
            <a:ext cx="5508104" cy="367206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314" y="981890"/>
            <a:ext cx="4998874" cy="333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243543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Кабинет врача</a:t>
            </a:r>
            <a:endParaRPr lang="ru-RU" sz="24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24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210" y="2811487"/>
            <a:ext cx="5328084" cy="355205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981890"/>
            <a:ext cx="4463988" cy="297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219693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b="0" dirty="0" smtClean="0"/>
              <a:t>Кабинет педиатра</a:t>
            </a:r>
            <a:endParaRPr lang="ru-RU" sz="24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25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680" y="981890"/>
            <a:ext cx="7541524" cy="5015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627788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b="0" dirty="0" smtClean="0"/>
              <a:t>Кабинет педиатра</a:t>
            </a:r>
            <a:endParaRPr lang="ru-RU" sz="24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26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76" y="924872"/>
            <a:ext cx="7861792" cy="5241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224697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b="0" dirty="0" smtClean="0"/>
              <a:t>Кнопки качества</a:t>
            </a:r>
            <a:endParaRPr lang="ru-RU" sz="24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27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79368"/>
            <a:ext cx="4495808" cy="299720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335641" y="1829421"/>
            <a:ext cx="5085184" cy="339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290567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Холл детской поликлиники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28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560" y="981890"/>
            <a:ext cx="7957223" cy="5284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425614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Холл детской поликлиники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29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856" y="2683243"/>
            <a:ext cx="5508104" cy="367206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835849"/>
            <a:ext cx="4392488" cy="2926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99658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Регистратура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3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988840"/>
            <a:ext cx="3888432" cy="3193514"/>
          </a:xfrm>
          <a:prstGeom prst="rect">
            <a:avLst/>
          </a:prstGeom>
        </p:spPr>
      </p:pic>
      <p:pic>
        <p:nvPicPr>
          <p:cNvPr id="10" name="Picture 2" descr="C:\Users\sekretar\Desktop\все фото\22 03\регистратура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27984" y="899828"/>
            <a:ext cx="4320480" cy="53285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67147656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b="0" dirty="0" smtClean="0"/>
              <a:t>Детская комната</a:t>
            </a:r>
            <a:endParaRPr lang="ru-RU" sz="24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30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1197" y="3052772"/>
            <a:ext cx="4875628" cy="325041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21" y="959748"/>
            <a:ext cx="4704673" cy="3124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912055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400" b="1" dirty="0" smtClean="0"/>
              <a:t>Чувашская Республика, городская стоматологическая поликлиника, детское отделение, г. Чебоксары</a:t>
            </a:r>
            <a:endParaRPr lang="ru-RU" sz="2400" b="1" dirty="0"/>
          </a:p>
        </p:txBody>
      </p:sp>
      <p:pic>
        <p:nvPicPr>
          <p:cNvPr id="1026" name="Picture 2" descr="M:\!!!!!!!! ААА фото\ФОТО игровых комнат\городская стоматологическая пол-ка, ДО\IMG_174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456048"/>
            <a:ext cx="3744416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M:\!!!!!!!! ААА фото\ФОТО игровых комнат\городская стоматологическая пол-ка, ДО\IMG_614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051884" y="2517068"/>
            <a:ext cx="4104456" cy="2903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:\!!!!!!!! ААА фото\ФОТО игровых комнат\городская стоматологическая пол-ка, ДО\DSC0189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031639"/>
            <a:ext cx="3779912" cy="3420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087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309108"/>
            <a:ext cx="3738854" cy="270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1165315"/>
            <a:ext cx="3635449" cy="3284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 descr="C:\Users\ChumakovaOV\Desktop\Фото Белгород\КДЦ Белгород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12" y="4091136"/>
            <a:ext cx="4104456" cy="2327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C:\Users\ChumakovaOV\Desktop\82117_21346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8978" y="4653136"/>
            <a:ext cx="3210694" cy="175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елгородская область, поликлиника, КДЦ</a:t>
            </a:r>
          </a:p>
        </p:txBody>
      </p:sp>
    </p:spTree>
    <p:extLst>
      <p:ext uri="{BB962C8B-B14F-4D97-AF65-F5344CB8AC3E}">
        <p14:creationId xmlns:p14="http://schemas.microsoft.com/office/powerpoint/2010/main" val="130613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humakovaOV\Desktop\фото калуга\Корридор филиала детской городской поликлиники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357" y="3429000"/>
            <a:ext cx="3840190" cy="2971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ChumakovaOV\Desktop\фото калуга\Регистратура и холл филиала детской городской поликлиники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032749"/>
            <a:ext cx="2952328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ChumakovaOV\Desktop\фото калуга\Центральная поликлиника детской городской больницы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032748"/>
            <a:ext cx="2736304" cy="2293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ChumakovaOV\Desktop\фото калуга\Центральный холл детской городской поликлиники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3429000"/>
            <a:ext cx="4369668" cy="3128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лужская область, детская </a:t>
            </a:r>
            <a:br>
              <a:rPr lang="ru-RU" dirty="0"/>
            </a:br>
            <a:r>
              <a:rPr lang="ru-RU" dirty="0"/>
              <a:t>городская поликлиника и </a:t>
            </a:r>
            <a:r>
              <a:rPr lang="ru-RU" dirty="0" smtClean="0"/>
              <a:t>филиал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71831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humakovaOV\Desktop\фото бурятия\дет по-ка№2\_DSC780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3214390"/>
            <a:ext cx="2340149" cy="3312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ChumakovaOV\Desktop\фото бурятия\дет по-ка№2\_DSC781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3861048"/>
            <a:ext cx="2555776" cy="2019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ChumakovaOV\Desktop\фото бурятия\дет по-ка№2\IMG_045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062786"/>
            <a:ext cx="3707904" cy="2689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ChumakovaOV\Desktop\фото бурятия\дет по-ка№2\IMG_0486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6107" y="980728"/>
            <a:ext cx="3031720" cy="1969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ChumakovaOV\Desktop\фото бурятия\дет по-ка№2\IMG_0524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077072"/>
            <a:ext cx="3491880" cy="2329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 Республика Бурятия, детская поликлиника</a:t>
            </a:r>
            <a:br>
              <a:rPr lang="ru-RU" dirty="0"/>
            </a:br>
            <a:r>
              <a:rPr lang="ru-RU" dirty="0"/>
              <a:t> ГАУЗ Городская поликлиника № </a:t>
            </a:r>
            <a:r>
              <a:rPr lang="ru-RU" dirty="0" smtClean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36721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400" b="1" dirty="0" smtClean="0">
                <a:solidFill>
                  <a:schemeClr val="tx2"/>
                </a:solidFill>
              </a:rPr>
              <a:t>Республика Татарстан, Казань,</a:t>
            </a:r>
            <a:br>
              <a:rPr lang="ru-RU" sz="2400" b="1" dirty="0" smtClean="0">
                <a:solidFill>
                  <a:schemeClr val="tx2"/>
                </a:solidFill>
              </a:rPr>
            </a:br>
            <a:r>
              <a:rPr lang="ru-RU" sz="2400" b="1" dirty="0" smtClean="0">
                <a:solidFill>
                  <a:schemeClr val="tx2"/>
                </a:solidFill>
              </a:rPr>
              <a:t>детская поликлиника АЗИНО</a:t>
            </a:r>
            <a:endParaRPr lang="ru-RU" sz="2400" b="1" dirty="0">
              <a:solidFill>
                <a:schemeClr val="tx2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242165"/>
            <a:ext cx="2580603" cy="2348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912" y="1076186"/>
            <a:ext cx="3575692" cy="2022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690235" y="3174860"/>
            <a:ext cx="3280315" cy="3356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 descr="C:\Users\ChumakovaOV\Desktop\фото казань\img_3875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268760"/>
            <a:ext cx="3582144" cy="2748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ChumakovaOV\Desktop\фото казань\a1_43307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438" y="4021921"/>
            <a:ext cx="2365358" cy="1654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0592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</a:rPr>
              <a:t>ГАУЗ Московской области «Дубненская городская больница»</a:t>
            </a:r>
            <a:r>
              <a:rPr lang="ru-RU" sz="2400" b="1" dirty="0">
                <a:solidFill>
                  <a:schemeClr val="tx2"/>
                </a:solidFill>
              </a:rPr>
              <a:t>,</a:t>
            </a:r>
            <a:r>
              <a:rPr lang="ru-RU" sz="2400" b="1" dirty="0" smtClean="0">
                <a:solidFill>
                  <a:schemeClr val="tx2"/>
                </a:solidFill>
              </a:rPr>
              <a:t> </a:t>
            </a:r>
            <a:r>
              <a:rPr lang="en-US" sz="2400" b="1" dirty="0" smtClean="0">
                <a:solidFill>
                  <a:schemeClr val="tx2"/>
                </a:solidFill>
              </a:rPr>
              <a:t> </a:t>
            </a:r>
            <a:r>
              <a:rPr lang="ru-RU" sz="2400" b="1" dirty="0">
                <a:solidFill>
                  <a:schemeClr val="tx2"/>
                </a:solidFill>
              </a:rPr>
              <a:t>д</a:t>
            </a:r>
            <a:r>
              <a:rPr lang="ru-RU" sz="2400" b="1" dirty="0" smtClean="0">
                <a:solidFill>
                  <a:schemeClr val="tx2"/>
                </a:solidFill>
              </a:rPr>
              <a:t>етская поликлиника</a:t>
            </a:r>
            <a:endParaRPr lang="ru-RU" sz="2400" b="1" dirty="0">
              <a:solidFill>
                <a:schemeClr val="tx2"/>
              </a:solidFill>
            </a:endParaRPr>
          </a:p>
        </p:txBody>
      </p:sp>
      <p:pic>
        <p:nvPicPr>
          <p:cNvPr id="2" name="Объект 1"/>
          <p:cNvPicPr>
            <a:picLocks noGrp="1" noChangeAspect="1"/>
          </p:cNvPicPr>
          <p:nvPr>
            <p:ph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7967" y="1124744"/>
            <a:ext cx="3412465" cy="2276888"/>
          </a:xfrm>
        </p:spPr>
      </p:pic>
      <p:pic>
        <p:nvPicPr>
          <p:cNvPr id="5" name="Объект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13" y="3610215"/>
            <a:ext cx="3418715" cy="2588624"/>
          </a:xfrm>
          <a:prstGeom prst="rect">
            <a:avLst/>
          </a:prstGeom>
        </p:spPr>
      </p:pic>
      <p:pic>
        <p:nvPicPr>
          <p:cNvPr id="6" name="Объект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3730815"/>
            <a:ext cx="3600400" cy="2614157"/>
          </a:xfrm>
          <a:prstGeom prst="rect">
            <a:avLst/>
          </a:prstGeom>
        </p:spPr>
      </p:pic>
      <p:pic>
        <p:nvPicPr>
          <p:cNvPr id="7" name="Объект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30" y="1170615"/>
            <a:ext cx="3334624" cy="2231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2519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973664"/>
            <a:ext cx="2705362" cy="241548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6898" y="3514987"/>
            <a:ext cx="2380295" cy="256703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405" y="3657600"/>
            <a:ext cx="2822895" cy="253347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25" y="1040236"/>
            <a:ext cx="3085838" cy="234891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872" y="3650208"/>
            <a:ext cx="2770464" cy="2701256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ru-RU" dirty="0"/>
              <a:t>ГБУЗ Московской области «Луховицкая ЦРБ,  детская </a:t>
            </a:r>
            <a:r>
              <a:rPr lang="ru-RU" dirty="0" smtClean="0"/>
              <a:t>поликлин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56457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humakovaOV\Desktop\фото бурятия\ЦРБ\DSC_061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182" y="1052736"/>
            <a:ext cx="3508648" cy="2748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ChumakovaOV\Desktop\фото бурятия\ЦРБ\DSC_061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1016731"/>
            <a:ext cx="3580656" cy="2820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ChumakovaOV\Desktop\фото бурятия\ЦРБ\DSC_062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6036" y="4005063"/>
            <a:ext cx="3796680" cy="2748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ChumakovaOV\Desktop\фото бурятия\ЦРБ\DSC_062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182" y="4161506"/>
            <a:ext cx="3588746" cy="259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67544" y="0"/>
            <a:ext cx="7632700" cy="962025"/>
          </a:xfrm>
        </p:spPr>
        <p:txBody>
          <a:bodyPr/>
          <a:lstStyle/>
          <a:p>
            <a:r>
              <a:rPr lang="ru-RU" dirty="0"/>
              <a:t>Республика Бурятия, ГАУЗ </a:t>
            </a:r>
            <a:r>
              <a:rPr lang="ru-RU" dirty="0" err="1"/>
              <a:t>Гусиноозерская</a:t>
            </a:r>
            <a:r>
              <a:rPr lang="ru-RU" dirty="0"/>
              <a:t> ЦРБ, </a:t>
            </a:r>
            <a:br>
              <a:rPr lang="ru-RU" dirty="0"/>
            </a:br>
            <a:r>
              <a:rPr lang="ru-RU" dirty="0"/>
              <a:t>детская </a:t>
            </a:r>
            <a:r>
              <a:rPr lang="ru-RU" dirty="0" smtClean="0"/>
              <a:t>поликлин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74387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8" name="Picture 2" descr="C:\Users\Светлана\Desktop\Новая папка для форума\114___05\IMG_136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573016"/>
            <a:ext cx="4176464" cy="2997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1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1314888"/>
            <a:ext cx="3312368" cy="2024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690445"/>
            <a:ext cx="3736280" cy="2880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C:\Users\ChumakovaOV\Desktop\фото бурятия\пол-ка ДГБ №4\коридор детской пол-ки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553" y="1138097"/>
            <a:ext cx="3452192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 Республика Бурятия,</a:t>
            </a:r>
            <a:br>
              <a:rPr lang="ru-RU" dirty="0"/>
            </a:br>
            <a:r>
              <a:rPr lang="ru-RU" dirty="0"/>
              <a:t> детская поликлиника ГБУЗ Городская больница № </a:t>
            </a:r>
            <a:r>
              <a:rPr lang="ru-RU" dirty="0" smtClean="0"/>
              <a:t>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1166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Регистратура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4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704" y="836712"/>
            <a:ext cx="3892296" cy="259384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704" y="3594993"/>
            <a:ext cx="3883581" cy="273474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819365"/>
            <a:ext cx="4104456" cy="245973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8375" y="3349311"/>
            <a:ext cx="1962681" cy="294402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3356456"/>
            <a:ext cx="1949044" cy="2939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628371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salehard.bezformata.ru/content/image22481641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775" y="1180215"/>
            <a:ext cx="4176464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4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6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8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10"/>
          <p:cNvSpPr>
            <a:spLocks noChangeAspect="1" noChangeArrowheads="1"/>
          </p:cNvSpPr>
          <p:nvPr/>
        </p:nvSpPr>
        <p:spPr bwMode="auto">
          <a:xfrm>
            <a:off x="520700" y="320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2"/>
          <p:cNvSpPr>
            <a:spLocks noChangeAspect="1" noChangeArrowheads="1"/>
          </p:cNvSpPr>
          <p:nvPr/>
        </p:nvSpPr>
        <p:spPr bwMode="auto">
          <a:xfrm>
            <a:off x="673100" y="4730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37" name="Picture 13" descr="C:\Users\ChumakovaOV\Desktop\igrovaya_komnata_2403201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176039"/>
            <a:ext cx="4215838" cy="254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ChumakovaOV\Desktop\ДГБ №1 ОМСК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9056" y="3933055"/>
            <a:ext cx="3843235" cy="2801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Ямало-Ненецкий  автономный округ, </a:t>
            </a:r>
            <a:br>
              <a:rPr lang="ru-RU" dirty="0"/>
            </a:br>
            <a:r>
              <a:rPr lang="ru-RU" dirty="0"/>
              <a:t>ГБУЗ </a:t>
            </a:r>
            <a:r>
              <a:rPr lang="ru-RU" dirty="0" err="1"/>
              <a:t>Тазовская</a:t>
            </a:r>
            <a:r>
              <a:rPr lang="ru-RU" dirty="0"/>
              <a:t> центральная районная </a:t>
            </a:r>
            <a:r>
              <a:rPr lang="ru-RU" dirty="0" smtClean="0"/>
              <a:t>больниц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18886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dirty="0" smtClean="0"/>
              <a:t>Электронное расписание и элементы навигации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5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74" y="872070"/>
            <a:ext cx="3646055" cy="24212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4014" y="869475"/>
            <a:ext cx="3969440" cy="24238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645024"/>
            <a:ext cx="3528392" cy="264629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013" y="3645024"/>
            <a:ext cx="3969440" cy="2646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279660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3544" y="231032"/>
            <a:ext cx="8491289" cy="369332"/>
          </a:xfrm>
        </p:spPr>
        <p:txBody>
          <a:bodyPr/>
          <a:lstStyle/>
          <a:p>
            <a:r>
              <a:rPr lang="ru-RU" sz="2400" dirty="0"/>
              <a:t>Информационная стойк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6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69888" y="692696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2348880"/>
            <a:ext cx="5030905" cy="377317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49" y="908720"/>
            <a:ext cx="4416490" cy="331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75983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en-US" sz="2400" dirty="0" smtClean="0"/>
              <a:t>Call</a:t>
            </a:r>
            <a:r>
              <a:rPr lang="ru-RU" sz="2400" dirty="0" smtClean="0"/>
              <a:t>-центр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7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F:\DCIM\100OLYMP\PC20132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983" t="11506" r="8278" b="6259"/>
          <a:stretch/>
        </p:blipFill>
        <p:spPr bwMode="auto">
          <a:xfrm>
            <a:off x="136620" y="981890"/>
            <a:ext cx="4504560" cy="288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8774" y="981890"/>
            <a:ext cx="3840427" cy="2880320"/>
          </a:xfrm>
          <a:prstGeom prst="rect">
            <a:avLst/>
          </a:prstGeom>
        </p:spPr>
      </p:pic>
      <p:pic>
        <p:nvPicPr>
          <p:cNvPr id="7" name="Picture 2" descr="C:\Users\sekretar\Desktop\все фото\call-центр\call-центр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86539" y="4114254"/>
            <a:ext cx="4032448" cy="251090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9514804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b="0" dirty="0"/>
              <a:t>Терапевтическое отделен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8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666" name="Picture 2" descr="http://medudp.ru/images/departments/previews/MIR_002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7" y="836712"/>
            <a:ext cx="8620329" cy="540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566579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78187"/>
            <a:ext cx="8491289" cy="369332"/>
          </a:xfrm>
        </p:spPr>
        <p:txBody>
          <a:bodyPr/>
          <a:lstStyle/>
          <a:p>
            <a:r>
              <a:rPr lang="ru-RU" sz="2400" b="0" dirty="0" smtClean="0"/>
              <a:t>Кабинет терапевта</a:t>
            </a:r>
            <a:endParaRPr lang="ru-RU" sz="24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259763" y="6363543"/>
            <a:ext cx="627062" cy="377825"/>
          </a:xfr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z="2400" b="1" smtClean="0">
                <a:solidFill>
                  <a:schemeClr val="accent3">
                    <a:lumMod val="50000"/>
                  </a:schemeClr>
                </a:solidFill>
              </a:rPr>
              <a:pPr>
                <a:defRPr/>
              </a:pPr>
              <a:t>9</a:t>
            </a:fld>
            <a:endParaRPr lang="ru-RU" sz="2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9512" y="764704"/>
            <a:ext cx="8775321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18594" y="1445702"/>
            <a:ext cx="3901271" cy="3403371"/>
          </a:xfrm>
          <a:prstGeom prst="rect">
            <a:avLst/>
          </a:prstGeom>
        </p:spPr>
      </p:pic>
      <p:pic>
        <p:nvPicPr>
          <p:cNvPr id="8" name="Picture 8" descr="http://www.jamtour.org/assets/uploads/propertes/b50-2012070422575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81494" y="1192560"/>
            <a:ext cx="4973339" cy="31005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8439818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P7OrCpEU2lDhGI8MqUN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PgSVscIkCvzK78kPHCk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7iQ43ZhUOz7cj4HTQmj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jP5VMp1kWkHL3ptorUj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IUS1Iuj02Pp_w3NZmaQ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YxTCJMtkiCNSwdwIPlE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IvMIFYdUGUD.yNWaHQU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Kf425MQ0WKdqnuPim18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x.e8C32ES4T6Tlextx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UZiB.Wlke3dIOcxBWOi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HcTHVwTE2lZ_3v7eFI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HgXwEWL02zObDkFmboQ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OuyrYDik6j3XwLsKrLp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P7OrCpEU2lDhGI8MqUN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PgSVscIkCvzK78kPHCk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7iQ43ZhUOz7cj4HTQmj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jP5VMp1kWkHL3ptorU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IUS1Iuj02Pp_w3NZmaQ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YxTCJMtkiCNSwdwIPlE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IvMIFYdUGUD.yNWaHQU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Kf425MQ0WKdqnuPim18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x.e8C32ES4T6Tlextxa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UZiB.Wlke3dIOcxBWOi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HcTHVwTE2lZ_3v7eFIT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HgXwEWL02zObDkFmboQ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OuyrYDik6j3XwLsKrLp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iEWtEu06vAYkw5x2jc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q9ar8vQES60rm6jqZNK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kMnwWU2Eascb6GNCTFN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JcZgtRwEe.81Y5cyEqD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9pA3Ae8EeGbEPE8A.nk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iEWtEu06vAYkw5x2j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q9ar8vQES60rm6jqZNK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kMnwWU2Eascb6GNCTFN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JcZgtRwEe.81Y5cyEqD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9pA3Ae8EeGbEPE8A.nk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iEWtEu06vAYkw5x2jc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q9ar8vQES60rm6jqZNK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kMnwWU2Eascb6GNCTFN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JcZgtRwEe.81Y5cyEqD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9pA3Ae8EeGbEPE8A.nk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iEWtEu06vAYkw5x2jc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q9ar8vQES60rm6jqZNK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kMnwWU2Eascb6GNCTFN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JcZgtRwEe.81Y5cyEqD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9pA3Ae8EeGbEPE8A.nk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iEWtEu06vAYkw5x2jc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q9ar8vQES60rm6jqZNK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kMnwWU2Eascb6GNCTFN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iEWtEu06vAYkw5x2jc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q9ar8vQES60rm6jqZNK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iEWtEu06vAYkw5x2jc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q9ar8vQES60rm6jqZN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kMnwWU2Eascb6GNCTFN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JcZgtRwEe.81Y5cyEqD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9pA3Ae8EeGbEPE8A.n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kMnwWU2Eascb6GNCTF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hky7w4wE6bSOi0sBy1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wYh86LkCj_zYv4bHY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iEWtEu06vAYkw5x2jc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q9ar8vQES60rm6jqZNK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kMnwWU2Eascb6GNCTFN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liEWtEu06vAYkw5x2jc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q9ar8vQES60rm6jqZNK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kMnwWU2Eascb6GNCTFN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2.xml><?xml version="1.0" encoding="utf-8"?>
<a:theme xmlns:a="http://schemas.openxmlformats.org/drawingml/2006/main" name="2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3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5.xml><?xml version="1.0" encoding="utf-8"?>
<a:theme xmlns:a="http://schemas.openxmlformats.org/drawingml/2006/main" name="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6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4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5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7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8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9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РОСАТОМ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435</TotalTime>
  <Words>176</Words>
  <Application>Microsoft Office PowerPoint</Application>
  <PresentationFormat>Экран (4:3)</PresentationFormat>
  <Paragraphs>74</Paragraphs>
  <Slides>40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2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0</vt:i4>
      </vt:variant>
    </vt:vector>
  </HeadingPairs>
  <TitlesOfParts>
    <vt:vector size="64" baseType="lpstr">
      <vt:lpstr>b-default</vt:lpstr>
      <vt:lpstr>Firm Format - Russian</vt:lpstr>
      <vt:lpstr>РОСАТОМ</vt:lpstr>
      <vt:lpstr>1_b-default</vt:lpstr>
      <vt:lpstr>1_Firm Format - Russian</vt:lpstr>
      <vt:lpstr>RDM027</vt:lpstr>
      <vt:lpstr>1_RDM027</vt:lpstr>
      <vt:lpstr>2_RDM027</vt:lpstr>
      <vt:lpstr>3_RDM027</vt:lpstr>
      <vt:lpstr>4_RDM027</vt:lpstr>
      <vt:lpstr>5_RDM027</vt:lpstr>
      <vt:lpstr>2_Firm Format - Russian</vt:lpstr>
      <vt:lpstr>3_Firm Format - Russian</vt:lpstr>
      <vt:lpstr>6_RDM027</vt:lpstr>
      <vt:lpstr>7_RDM027</vt:lpstr>
      <vt:lpstr>2_b-default</vt:lpstr>
      <vt:lpstr>3_b-default</vt:lpstr>
      <vt:lpstr>4_Firm Format - Russian</vt:lpstr>
      <vt:lpstr>5_Firm Format - Russian</vt:lpstr>
      <vt:lpstr>6_Firm Format - Russian</vt:lpstr>
      <vt:lpstr>7_Firm Format - Russian</vt:lpstr>
      <vt:lpstr>8_Firm Format - Russian</vt:lpstr>
      <vt:lpstr>9_Firm Format - Russian</vt:lpstr>
      <vt:lpstr>think-cell Slide</vt:lpstr>
      <vt:lpstr>Презентация PowerPoint</vt:lpstr>
      <vt:lpstr>Регистратура</vt:lpstr>
      <vt:lpstr>Регистратура</vt:lpstr>
      <vt:lpstr>Регистратура</vt:lpstr>
      <vt:lpstr>Электронное расписание и элементы навигации</vt:lpstr>
      <vt:lpstr>Информационная стойка</vt:lpstr>
      <vt:lpstr>Call-центр</vt:lpstr>
      <vt:lpstr>Терапевтическое отделение</vt:lpstr>
      <vt:lpstr>Кабинет терапевта</vt:lpstr>
      <vt:lpstr>Отделение специализированной медицинской помощи</vt:lpstr>
      <vt:lpstr>Акушерско-гинекологическое отделение</vt:lpstr>
      <vt:lpstr>Отделение медицинской реабилитации</vt:lpstr>
      <vt:lpstr>Отделение медицинской профилактики</vt:lpstr>
      <vt:lpstr>Процедурный кабинет</vt:lpstr>
      <vt:lpstr>Кабинет врача</vt:lpstr>
      <vt:lpstr>Входная группа детской поликлиники</vt:lpstr>
      <vt:lpstr>Входная группа детской поликлиники</vt:lpstr>
      <vt:lpstr>Колясочная</vt:lpstr>
      <vt:lpstr>Регистратура детской поликлиники</vt:lpstr>
      <vt:lpstr>Регистратура детской поликлиники</vt:lpstr>
      <vt:lpstr>Регистратура детской поликлиники</vt:lpstr>
      <vt:lpstr>Педиатрическое отделение</vt:lpstr>
      <vt:lpstr>Кабинет врача</vt:lpstr>
      <vt:lpstr>Кабинет врача</vt:lpstr>
      <vt:lpstr>Кабинет педиатра</vt:lpstr>
      <vt:lpstr>Кабинет педиатра</vt:lpstr>
      <vt:lpstr>Кнопки качества</vt:lpstr>
      <vt:lpstr>Холл детской поликлиники</vt:lpstr>
      <vt:lpstr>Холл детской поликлиники</vt:lpstr>
      <vt:lpstr>Детская комната</vt:lpstr>
      <vt:lpstr>Чувашская Республика, городская стоматологическая поликлиника, детское отделение, г. Чебоксары</vt:lpstr>
      <vt:lpstr>Белгородская область, поликлиника, КДЦ</vt:lpstr>
      <vt:lpstr>Калужская область, детская  городская поликлиника и филиалы</vt:lpstr>
      <vt:lpstr> Республика Бурятия, детская поликлиника  ГАУЗ Городская поликлиника № 2</vt:lpstr>
      <vt:lpstr>Республика Татарстан, Казань, детская поликлиника АЗИНО</vt:lpstr>
      <vt:lpstr>ГАУЗ Московской области «Дубненская городская больница»,  детская поликлиника</vt:lpstr>
      <vt:lpstr>ГБУЗ Московской области «Луховицкая ЦРБ,  детская поликлиника</vt:lpstr>
      <vt:lpstr>Республика Бурятия, ГАУЗ Гусиноозерская ЦРБ,  детская поликлиника</vt:lpstr>
      <vt:lpstr> Республика Бурятия,  детская поликлиника ГБУЗ Городская больница № 4</vt:lpstr>
      <vt:lpstr>Ямало-Ненецкий  автономный округ,  ГБУЗ Тазовская центральная районная больница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Ilya</dc:creator>
  <cp:lastModifiedBy>Кашин Александр Викторович</cp:lastModifiedBy>
  <cp:revision>3059</cp:revision>
  <cp:lastPrinted>2017-04-21T10:41:29Z</cp:lastPrinted>
  <dcterms:created xsi:type="dcterms:W3CDTF">2011-08-02T09:38:54Z</dcterms:created>
  <dcterms:modified xsi:type="dcterms:W3CDTF">2017-06-21T08:15:15Z</dcterms:modified>
</cp:coreProperties>
</file>